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22"/>
  </p:notesMasterIdLst>
  <p:handoutMasterIdLst>
    <p:handoutMasterId r:id="rId23"/>
  </p:handoutMasterIdLst>
  <p:sldIdLst>
    <p:sldId id="279" r:id="rId5"/>
    <p:sldId id="306" r:id="rId6"/>
    <p:sldId id="307" r:id="rId7"/>
    <p:sldId id="314" r:id="rId8"/>
    <p:sldId id="310" r:id="rId9"/>
    <p:sldId id="313" r:id="rId10"/>
    <p:sldId id="308" r:id="rId11"/>
    <p:sldId id="312" r:id="rId12"/>
    <p:sldId id="316" r:id="rId13"/>
    <p:sldId id="321" r:id="rId14"/>
    <p:sldId id="315" r:id="rId15"/>
    <p:sldId id="327" r:id="rId16"/>
    <p:sldId id="319" r:id="rId17"/>
    <p:sldId id="323" r:id="rId18"/>
    <p:sldId id="326" r:id="rId19"/>
    <p:sldId id="325" r:id="rId20"/>
    <p:sldId id="328" r:id="rId21"/>
  </p:sldIdLst>
  <p:sldSz cx="9144000" cy="6858000" type="screen4x3"/>
  <p:notesSz cx="7010400" cy="92964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024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4D17" initials="R" lastIdx="2" clrIdx="0"/>
  <p:cmAuthor id="1" name="Candice Hwang" initials="CH" lastIdx="0" clrIdx="1">
    <p:extLst/>
  </p:cmAuthor>
  <p:cmAuthor id="2" name="Meghan O'Connell" initials="MO" lastIdx="4" clrIdx="2">
    <p:extLst/>
  </p:cmAuthor>
  <p:cmAuthor id="3" name="Paul Wilson" initials="" lastIdx="28" clrIdx="3"/>
  <p:cmAuthor id="4" name="Helen Saxenian" initials="HS" lastIdx="2" clrIdx="4">
    <p:extLst/>
  </p:cmAuthor>
  <p:cmAuthor id="5" name="Author" initials="A" lastIdx="10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2726"/>
    <a:srgbClr val="A80A4B"/>
    <a:srgbClr val="FCD0E2"/>
    <a:srgbClr val="F7F7F7"/>
    <a:srgbClr val="005EA4"/>
    <a:srgbClr val="000000"/>
    <a:srgbClr val="636466"/>
    <a:srgbClr val="313231"/>
    <a:srgbClr val="00A6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03" autoAdjust="0"/>
    <p:restoredTop sz="94683" autoAdjust="0"/>
  </p:normalViewPr>
  <p:slideViewPr>
    <p:cSldViewPr snapToGrid="0">
      <p:cViewPr varScale="1">
        <p:scale>
          <a:sx n="59" d="100"/>
          <a:sy n="59" d="100"/>
        </p:scale>
        <p:origin x="72" y="581"/>
      </p:cViewPr>
      <p:guideLst>
        <p:guide orient="horz" pos="2160"/>
        <p:guide pos="2880"/>
        <p:guide orient="horz" pos="30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D8CF1D6-3AE9-47B0-B106-DA1E6502868B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C3C52CF-01F3-4898-91E2-346F116A6E78}">
      <dgm:prSet phldrT="[Text]" custT="1"/>
      <dgm:spPr/>
      <dgm:t>
        <a:bodyPr/>
        <a:lstStyle/>
        <a:p>
          <a:endParaRPr lang="en-US" sz="2000" b="1" dirty="0"/>
        </a:p>
      </dgm:t>
    </dgm:pt>
    <dgm:pt modelId="{380240C7-638B-4652-9096-B187670C70BA}" type="parTrans" cxnId="{8A65EA72-CB46-4CB6-B69E-447AB90DC409}">
      <dgm:prSet/>
      <dgm:spPr/>
      <dgm:t>
        <a:bodyPr/>
        <a:lstStyle/>
        <a:p>
          <a:endParaRPr lang="en-US"/>
        </a:p>
      </dgm:t>
    </dgm:pt>
    <dgm:pt modelId="{85888365-BD31-46DF-8797-2B9C79008687}" type="sibTrans" cxnId="{8A65EA72-CB46-4CB6-B69E-447AB90DC409}">
      <dgm:prSet/>
      <dgm:spPr/>
      <dgm:t>
        <a:bodyPr/>
        <a:lstStyle/>
        <a:p>
          <a:endParaRPr lang="en-US"/>
        </a:p>
      </dgm:t>
    </dgm:pt>
    <dgm:pt modelId="{BE84D468-AA78-4AA4-8502-EDCF25CD0413}">
      <dgm:prSet phldrT="[Text]" custT="1"/>
      <dgm:spPr/>
      <dgm:t>
        <a:bodyPr/>
        <a:lstStyle/>
        <a:p>
          <a:endParaRPr lang="en-US" sz="2000" b="1" dirty="0"/>
        </a:p>
      </dgm:t>
    </dgm:pt>
    <dgm:pt modelId="{1B15D64C-858D-4A50-846F-AF6920A30E4C}" type="parTrans" cxnId="{322CDE3F-E143-4FA1-98AC-8FFE9E3D3F06}">
      <dgm:prSet/>
      <dgm:spPr/>
      <dgm:t>
        <a:bodyPr/>
        <a:lstStyle/>
        <a:p>
          <a:endParaRPr lang="en-US"/>
        </a:p>
      </dgm:t>
    </dgm:pt>
    <dgm:pt modelId="{61F3C0F1-01F6-4199-B740-DDC35C2E5D3C}" type="sibTrans" cxnId="{322CDE3F-E143-4FA1-98AC-8FFE9E3D3F06}">
      <dgm:prSet/>
      <dgm:spPr/>
      <dgm:t>
        <a:bodyPr/>
        <a:lstStyle/>
        <a:p>
          <a:endParaRPr lang="en-US"/>
        </a:p>
      </dgm:t>
    </dgm:pt>
    <dgm:pt modelId="{6E771469-36CB-4DA4-85FD-35573B748AED}">
      <dgm:prSet/>
      <dgm:spPr/>
      <dgm:t>
        <a:bodyPr/>
        <a:lstStyle/>
        <a:p>
          <a:endParaRPr lang="en-US" dirty="0"/>
        </a:p>
      </dgm:t>
    </dgm:pt>
    <dgm:pt modelId="{9718083E-8585-4CCD-98A9-5D582FE6E5C9}" type="parTrans" cxnId="{E925660C-B189-4C50-99F4-079D89DAD48E}">
      <dgm:prSet/>
      <dgm:spPr/>
      <dgm:t>
        <a:bodyPr/>
        <a:lstStyle/>
        <a:p>
          <a:endParaRPr lang="en-US"/>
        </a:p>
      </dgm:t>
    </dgm:pt>
    <dgm:pt modelId="{E79E4F86-A5C5-4E56-A0F9-3CFD9C28BEC9}" type="sibTrans" cxnId="{E925660C-B189-4C50-99F4-079D89DAD48E}">
      <dgm:prSet/>
      <dgm:spPr/>
      <dgm:t>
        <a:bodyPr/>
        <a:lstStyle/>
        <a:p>
          <a:endParaRPr lang="en-US"/>
        </a:p>
      </dgm:t>
    </dgm:pt>
    <dgm:pt modelId="{3102F920-0B8C-4505-9610-D6FF07203D20}">
      <dgm:prSet phldrT="[Text]" custT="1"/>
      <dgm:spPr/>
      <dgm:t>
        <a:bodyPr/>
        <a:lstStyle/>
        <a:p>
          <a:endParaRPr lang="en-US" sz="2000" b="1" dirty="0"/>
        </a:p>
      </dgm:t>
    </dgm:pt>
    <dgm:pt modelId="{B4AB4DD6-92A7-4975-ACB9-BA04301F2C4C}" type="sibTrans" cxnId="{FC997E0D-B635-42CF-BA97-2A067FAC6CEC}">
      <dgm:prSet/>
      <dgm:spPr/>
      <dgm:t>
        <a:bodyPr/>
        <a:lstStyle/>
        <a:p>
          <a:endParaRPr lang="en-US"/>
        </a:p>
      </dgm:t>
    </dgm:pt>
    <dgm:pt modelId="{94FBB074-7BB2-43B1-9F85-F25779AB4B2A}" type="parTrans" cxnId="{FC997E0D-B635-42CF-BA97-2A067FAC6CEC}">
      <dgm:prSet/>
      <dgm:spPr/>
      <dgm:t>
        <a:bodyPr/>
        <a:lstStyle/>
        <a:p>
          <a:endParaRPr lang="en-US"/>
        </a:p>
      </dgm:t>
    </dgm:pt>
    <dgm:pt modelId="{245DA50D-51A6-4E9F-9055-721FFDC86A2E}" type="pres">
      <dgm:prSet presAssocID="{AD8CF1D6-3AE9-47B0-B106-DA1E6502868B}" presName="arrowDiagram" presStyleCnt="0">
        <dgm:presLayoutVars>
          <dgm:chMax val="5"/>
          <dgm:dir/>
          <dgm:resizeHandles val="exact"/>
        </dgm:presLayoutVars>
      </dgm:prSet>
      <dgm:spPr/>
    </dgm:pt>
    <dgm:pt modelId="{6F58BC25-97C1-48EE-86CE-59FF68253E39}" type="pres">
      <dgm:prSet presAssocID="{AD8CF1D6-3AE9-47B0-B106-DA1E6502868B}" presName="arrow" presStyleLbl="bgShp" presStyleIdx="0" presStyleCnt="1" custScaleX="75122" custScaleY="117454"/>
      <dgm:spPr/>
    </dgm:pt>
    <dgm:pt modelId="{3F19293A-7255-41CA-A116-CDF8CBFC50C2}" type="pres">
      <dgm:prSet presAssocID="{AD8CF1D6-3AE9-47B0-B106-DA1E6502868B}" presName="arrowDiagram4" presStyleCnt="0"/>
      <dgm:spPr/>
    </dgm:pt>
    <dgm:pt modelId="{E57692BE-8F41-40E1-9BDD-3F4103A881BD}" type="pres">
      <dgm:prSet presAssocID="{3102F920-0B8C-4505-9610-D6FF07203D20}" presName="bullet4a" presStyleLbl="node1" presStyleIdx="0" presStyleCnt="4" custLinFactX="158054" custLinFactY="100000" custLinFactNeighborX="200000" custLinFactNeighborY="125646"/>
      <dgm:spPr/>
    </dgm:pt>
    <dgm:pt modelId="{BB179CEB-CC2C-4954-8CEE-4E1F74E7E39D}" type="pres">
      <dgm:prSet presAssocID="{3102F920-0B8C-4505-9610-D6FF07203D20}" presName="textBox4a" presStyleLbl="revTx" presStyleIdx="0" presStyleCnt="4" custScaleX="193303" custScaleY="82987" custLinFactNeighborX="74412" custLinFactNeighborY="62364">
        <dgm:presLayoutVars>
          <dgm:bulletEnabled val="1"/>
        </dgm:presLayoutVars>
      </dgm:prSet>
      <dgm:spPr/>
    </dgm:pt>
    <dgm:pt modelId="{F025F0DF-AD06-4631-8352-552F0D527DF9}" type="pres">
      <dgm:prSet presAssocID="{CC3C52CF-01F3-4898-91E2-346F116A6E78}" presName="bullet4b" presStyleLbl="node1" presStyleIdx="1" presStyleCnt="4" custLinFactY="98694" custLinFactNeighborX="-52181" custLinFactNeighborY="100000"/>
      <dgm:spPr/>
    </dgm:pt>
    <dgm:pt modelId="{50BB15EC-55A0-44E2-9E7D-62B36BE1AF16}" type="pres">
      <dgm:prSet presAssocID="{CC3C52CF-01F3-4898-91E2-346F116A6E78}" presName="textBox4b" presStyleLbl="revTx" presStyleIdx="1" presStyleCnt="4" custScaleX="260032" custScaleY="60839" custLinFactNeighborX="61835" custLinFactNeighborY="5744">
        <dgm:presLayoutVars>
          <dgm:bulletEnabled val="1"/>
        </dgm:presLayoutVars>
      </dgm:prSet>
      <dgm:spPr/>
    </dgm:pt>
    <dgm:pt modelId="{E589B116-E38B-4316-B7CC-A0A6D5459806}" type="pres">
      <dgm:prSet presAssocID="{BE84D468-AA78-4AA4-8502-EDCF25CD0413}" presName="bullet4c" presStyleLbl="node1" presStyleIdx="2" presStyleCnt="4" custLinFactX="-100000" custLinFactY="8605" custLinFactNeighborX="-118323" custLinFactNeighborY="100000"/>
      <dgm:spPr/>
    </dgm:pt>
    <dgm:pt modelId="{4E942A9C-2201-43E0-BF6B-4EF7A704DE74}" type="pres">
      <dgm:prSet presAssocID="{BE84D468-AA78-4AA4-8502-EDCF25CD0413}" presName="textBox4c" presStyleLbl="revTx" presStyleIdx="2" presStyleCnt="4" custScaleX="289398" custScaleY="31516" custLinFactNeighborX="67244" custLinFactNeighborY="-20076">
        <dgm:presLayoutVars>
          <dgm:bulletEnabled val="1"/>
        </dgm:presLayoutVars>
      </dgm:prSet>
      <dgm:spPr/>
    </dgm:pt>
    <dgm:pt modelId="{2B9383D3-B589-4334-A6CE-A07BDC184BB8}" type="pres">
      <dgm:prSet presAssocID="{6E771469-36CB-4DA4-85FD-35573B748AED}" presName="bullet4d" presStyleLbl="node1" presStyleIdx="3" presStyleCnt="4" custLinFactX="-100000" custLinFactNeighborX="-107796" custLinFactNeighborY="-8378"/>
      <dgm:spPr/>
    </dgm:pt>
    <dgm:pt modelId="{DCC56BD2-9317-402B-B207-F0B58112E7B6}" type="pres">
      <dgm:prSet presAssocID="{6E771469-36CB-4DA4-85FD-35573B748AED}" presName="textBox4d" presStyleLbl="revTx" presStyleIdx="3" presStyleCnt="4" custScaleX="181702" custScaleY="33518" custLinFactNeighborX="50379" custLinFactNeighborY="-42243">
        <dgm:presLayoutVars>
          <dgm:bulletEnabled val="1"/>
        </dgm:presLayoutVars>
      </dgm:prSet>
      <dgm:spPr/>
    </dgm:pt>
  </dgm:ptLst>
  <dgm:cxnLst>
    <dgm:cxn modelId="{E925660C-B189-4C50-99F4-079D89DAD48E}" srcId="{AD8CF1D6-3AE9-47B0-B106-DA1E6502868B}" destId="{6E771469-36CB-4DA4-85FD-35573B748AED}" srcOrd="3" destOrd="0" parTransId="{9718083E-8585-4CCD-98A9-5D582FE6E5C9}" sibTransId="{E79E4F86-A5C5-4E56-A0F9-3CFD9C28BEC9}"/>
    <dgm:cxn modelId="{FC997E0D-B635-42CF-BA97-2A067FAC6CEC}" srcId="{AD8CF1D6-3AE9-47B0-B106-DA1E6502868B}" destId="{3102F920-0B8C-4505-9610-D6FF07203D20}" srcOrd="0" destOrd="0" parTransId="{94FBB074-7BB2-43B1-9F85-F25779AB4B2A}" sibTransId="{B4AB4DD6-92A7-4975-ACB9-BA04301F2C4C}"/>
    <dgm:cxn modelId="{322CDE3F-E143-4FA1-98AC-8FFE9E3D3F06}" srcId="{AD8CF1D6-3AE9-47B0-B106-DA1E6502868B}" destId="{BE84D468-AA78-4AA4-8502-EDCF25CD0413}" srcOrd="2" destOrd="0" parTransId="{1B15D64C-858D-4A50-846F-AF6920A30E4C}" sibTransId="{61F3C0F1-01F6-4199-B740-DDC35C2E5D3C}"/>
    <dgm:cxn modelId="{DD808B41-E31D-424A-AD35-9E7BF3BE8F99}" type="presOf" srcId="{3102F920-0B8C-4505-9610-D6FF07203D20}" destId="{BB179CEB-CC2C-4954-8CEE-4E1F74E7E39D}" srcOrd="0" destOrd="0" presId="urn:microsoft.com/office/officeart/2005/8/layout/arrow2"/>
    <dgm:cxn modelId="{7E575E48-2E05-4038-A5E7-7C5BC0457271}" type="presOf" srcId="{6E771469-36CB-4DA4-85FD-35573B748AED}" destId="{DCC56BD2-9317-402B-B207-F0B58112E7B6}" srcOrd="0" destOrd="0" presId="urn:microsoft.com/office/officeart/2005/8/layout/arrow2"/>
    <dgm:cxn modelId="{8A65EA72-CB46-4CB6-B69E-447AB90DC409}" srcId="{AD8CF1D6-3AE9-47B0-B106-DA1E6502868B}" destId="{CC3C52CF-01F3-4898-91E2-346F116A6E78}" srcOrd="1" destOrd="0" parTransId="{380240C7-638B-4652-9096-B187670C70BA}" sibTransId="{85888365-BD31-46DF-8797-2B9C79008687}"/>
    <dgm:cxn modelId="{58432ACB-D795-4E80-9322-5E765CBBFC4E}" type="presOf" srcId="{AD8CF1D6-3AE9-47B0-B106-DA1E6502868B}" destId="{245DA50D-51A6-4E9F-9055-721FFDC86A2E}" srcOrd="0" destOrd="0" presId="urn:microsoft.com/office/officeart/2005/8/layout/arrow2"/>
    <dgm:cxn modelId="{49CD4AD6-A88F-47EE-AAA7-C828B6941CB8}" type="presOf" srcId="{CC3C52CF-01F3-4898-91E2-346F116A6E78}" destId="{50BB15EC-55A0-44E2-9E7D-62B36BE1AF16}" srcOrd="0" destOrd="0" presId="urn:microsoft.com/office/officeart/2005/8/layout/arrow2"/>
    <dgm:cxn modelId="{DA5C23E2-9B8B-4FF7-85C8-0C1F515360CB}" type="presOf" srcId="{BE84D468-AA78-4AA4-8502-EDCF25CD0413}" destId="{4E942A9C-2201-43E0-BF6B-4EF7A704DE74}" srcOrd="0" destOrd="0" presId="urn:microsoft.com/office/officeart/2005/8/layout/arrow2"/>
    <dgm:cxn modelId="{EA3AAC9F-59D4-4B39-9197-E93ED29D2852}" type="presParOf" srcId="{245DA50D-51A6-4E9F-9055-721FFDC86A2E}" destId="{6F58BC25-97C1-48EE-86CE-59FF68253E39}" srcOrd="0" destOrd="0" presId="urn:microsoft.com/office/officeart/2005/8/layout/arrow2"/>
    <dgm:cxn modelId="{60227E38-F5D5-4C5A-9FFF-86C5B1DCC2AB}" type="presParOf" srcId="{245DA50D-51A6-4E9F-9055-721FFDC86A2E}" destId="{3F19293A-7255-41CA-A116-CDF8CBFC50C2}" srcOrd="1" destOrd="0" presId="urn:microsoft.com/office/officeart/2005/8/layout/arrow2"/>
    <dgm:cxn modelId="{D795D7CC-6D1B-4200-8D5D-C08A7B68B957}" type="presParOf" srcId="{3F19293A-7255-41CA-A116-CDF8CBFC50C2}" destId="{E57692BE-8F41-40E1-9BDD-3F4103A881BD}" srcOrd="0" destOrd="0" presId="urn:microsoft.com/office/officeart/2005/8/layout/arrow2"/>
    <dgm:cxn modelId="{1C773938-E313-4E37-AC12-C49AA35DAE79}" type="presParOf" srcId="{3F19293A-7255-41CA-A116-CDF8CBFC50C2}" destId="{BB179CEB-CC2C-4954-8CEE-4E1F74E7E39D}" srcOrd="1" destOrd="0" presId="urn:microsoft.com/office/officeart/2005/8/layout/arrow2"/>
    <dgm:cxn modelId="{D6F6F67D-EA37-4E2C-B117-DC7FFE2EF9CC}" type="presParOf" srcId="{3F19293A-7255-41CA-A116-CDF8CBFC50C2}" destId="{F025F0DF-AD06-4631-8352-552F0D527DF9}" srcOrd="2" destOrd="0" presId="urn:microsoft.com/office/officeart/2005/8/layout/arrow2"/>
    <dgm:cxn modelId="{0DE62059-F4A6-478F-BF53-40902DD4C62E}" type="presParOf" srcId="{3F19293A-7255-41CA-A116-CDF8CBFC50C2}" destId="{50BB15EC-55A0-44E2-9E7D-62B36BE1AF16}" srcOrd="3" destOrd="0" presId="urn:microsoft.com/office/officeart/2005/8/layout/arrow2"/>
    <dgm:cxn modelId="{B19E927D-6DD4-4AD2-9837-BB3CA546C5E5}" type="presParOf" srcId="{3F19293A-7255-41CA-A116-CDF8CBFC50C2}" destId="{E589B116-E38B-4316-B7CC-A0A6D5459806}" srcOrd="4" destOrd="0" presId="urn:microsoft.com/office/officeart/2005/8/layout/arrow2"/>
    <dgm:cxn modelId="{DA822237-8E49-4367-B2C7-A3B6AE15538B}" type="presParOf" srcId="{3F19293A-7255-41CA-A116-CDF8CBFC50C2}" destId="{4E942A9C-2201-43E0-BF6B-4EF7A704DE74}" srcOrd="5" destOrd="0" presId="urn:microsoft.com/office/officeart/2005/8/layout/arrow2"/>
    <dgm:cxn modelId="{E1DFF780-2EDE-4B16-BBD0-FD38F6DE7198}" type="presParOf" srcId="{3F19293A-7255-41CA-A116-CDF8CBFC50C2}" destId="{2B9383D3-B589-4334-A6CE-A07BDC184BB8}" srcOrd="6" destOrd="0" presId="urn:microsoft.com/office/officeart/2005/8/layout/arrow2"/>
    <dgm:cxn modelId="{5E13392A-647A-4C26-B2D0-66263996B970}" type="presParOf" srcId="{3F19293A-7255-41CA-A116-CDF8CBFC50C2}" destId="{DCC56BD2-9317-402B-B207-F0B58112E7B6}" srcOrd="7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3AA0969-AF0E-2240-9CF1-F5D710850637}" type="doc">
      <dgm:prSet loTypeId="urn:microsoft.com/office/officeart/2005/8/layout/gear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D2D792C-D791-D942-B4C5-98EA5E9EFF68}">
      <dgm:prSet custT="1"/>
      <dgm:spPr>
        <a:solidFill>
          <a:srgbClr val="00558F"/>
        </a:solidFill>
      </dgm:spPr>
      <dgm:t>
        <a:bodyPr/>
        <a:lstStyle/>
        <a:p>
          <a:pPr rtl="0"/>
          <a:r>
            <a:rPr lang="ru-RU" sz="2500" dirty="0">
              <a:latin typeface="Arial"/>
              <a:cs typeface="Arial"/>
            </a:rPr>
            <a:t>Лица, принимающие решения</a:t>
          </a:r>
          <a:endParaRPr lang="en-GB" sz="2500" dirty="0">
            <a:latin typeface="Arial"/>
            <a:cs typeface="Arial"/>
          </a:endParaRPr>
        </a:p>
      </dgm:t>
    </dgm:pt>
    <dgm:pt modelId="{EDF2767D-F34E-2E42-AF7C-579EDECD81EC}" type="parTrans" cxnId="{726A986A-137C-A447-9DF1-766FAE06FE62}">
      <dgm:prSet/>
      <dgm:spPr/>
      <dgm:t>
        <a:bodyPr/>
        <a:lstStyle/>
        <a:p>
          <a:endParaRPr lang="en-US" sz="2000">
            <a:latin typeface="Arial"/>
            <a:cs typeface="Arial"/>
          </a:endParaRPr>
        </a:p>
      </dgm:t>
    </dgm:pt>
    <dgm:pt modelId="{26DA48FC-820B-EB47-A002-A8E50493C2A4}" type="sibTrans" cxnId="{726A986A-137C-A447-9DF1-766FAE06FE62}">
      <dgm:prSet/>
      <dgm:spPr>
        <a:solidFill>
          <a:srgbClr val="93D3FF"/>
        </a:solidFill>
      </dgm:spPr>
      <dgm:t>
        <a:bodyPr/>
        <a:lstStyle/>
        <a:p>
          <a:endParaRPr lang="en-US" sz="2000">
            <a:latin typeface="Arial"/>
            <a:cs typeface="Arial"/>
          </a:endParaRPr>
        </a:p>
      </dgm:t>
    </dgm:pt>
    <dgm:pt modelId="{D8EADE21-91E5-F743-AAE1-AEE160834522}">
      <dgm:prSet custT="1"/>
      <dgm:spPr>
        <a:solidFill>
          <a:srgbClr val="0055BD"/>
        </a:solidFill>
        <a:ln>
          <a:solidFill>
            <a:srgbClr val="0055BD"/>
          </a:solidFill>
        </a:ln>
      </dgm:spPr>
      <dgm:t>
        <a:bodyPr/>
        <a:lstStyle/>
        <a:p>
          <a:pPr rtl="0"/>
          <a:r>
            <a:rPr lang="ru-RU" sz="1800" dirty="0">
              <a:latin typeface="Arial"/>
              <a:cs typeface="Arial"/>
            </a:rPr>
            <a:t>Те, кто имеет влияние на лиц, принимающих решения</a:t>
          </a:r>
          <a:endParaRPr lang="en-GB" sz="1800" dirty="0">
            <a:latin typeface="Arial"/>
            <a:cs typeface="Arial"/>
          </a:endParaRPr>
        </a:p>
      </dgm:t>
    </dgm:pt>
    <dgm:pt modelId="{8A2E0E19-6C0C-EA4D-B599-F6D83B9A92DF}" type="parTrans" cxnId="{094EABC6-BF34-B147-B3F4-5E020FC80E27}">
      <dgm:prSet/>
      <dgm:spPr/>
      <dgm:t>
        <a:bodyPr/>
        <a:lstStyle/>
        <a:p>
          <a:endParaRPr lang="en-US" sz="2000">
            <a:latin typeface="Arial"/>
            <a:cs typeface="Arial"/>
          </a:endParaRPr>
        </a:p>
      </dgm:t>
    </dgm:pt>
    <dgm:pt modelId="{675DA7ED-C351-EC48-AEB1-415C2203C96D}" type="sibTrans" cxnId="{094EABC6-BF34-B147-B3F4-5E020FC80E27}">
      <dgm:prSet/>
      <dgm:spPr>
        <a:solidFill>
          <a:srgbClr val="C00000"/>
        </a:solidFill>
      </dgm:spPr>
      <dgm:t>
        <a:bodyPr/>
        <a:lstStyle/>
        <a:p>
          <a:endParaRPr lang="en-US" sz="2000">
            <a:latin typeface="Arial"/>
            <a:cs typeface="Arial"/>
          </a:endParaRPr>
        </a:p>
      </dgm:t>
    </dgm:pt>
    <dgm:pt modelId="{930E31B1-72A6-3A45-8BD4-7AD57B6024FA}">
      <dgm:prSet custT="1"/>
      <dgm:spPr>
        <a:solidFill>
          <a:srgbClr val="5E8299"/>
        </a:solidFill>
        <a:ln>
          <a:solidFill>
            <a:srgbClr val="5E8299"/>
          </a:solidFill>
        </a:ln>
      </dgm:spPr>
      <dgm:t>
        <a:bodyPr/>
        <a:lstStyle/>
        <a:p>
          <a:pPr rtl="0"/>
          <a:r>
            <a:rPr lang="ru-RU" sz="2000" dirty="0">
              <a:latin typeface="Arial"/>
              <a:cs typeface="Arial"/>
            </a:rPr>
            <a:t>Ваши потенциальные партнеры</a:t>
          </a:r>
          <a:endParaRPr lang="en-GB" sz="2000" dirty="0">
            <a:latin typeface="Arial"/>
            <a:cs typeface="Arial"/>
          </a:endParaRPr>
        </a:p>
      </dgm:t>
    </dgm:pt>
    <dgm:pt modelId="{F1B995DC-712F-2340-A136-E39E836754A4}" type="parTrans" cxnId="{ED5C04CD-C2B9-8247-93AD-D912DB45DF8B}">
      <dgm:prSet/>
      <dgm:spPr/>
      <dgm:t>
        <a:bodyPr/>
        <a:lstStyle/>
        <a:p>
          <a:endParaRPr lang="en-US" sz="2000">
            <a:latin typeface="Arial"/>
            <a:cs typeface="Arial"/>
          </a:endParaRPr>
        </a:p>
      </dgm:t>
    </dgm:pt>
    <dgm:pt modelId="{FA59ACEA-C6A8-564B-A3B7-634FE15EC24B}" type="sibTrans" cxnId="{ED5C04CD-C2B9-8247-93AD-D912DB45DF8B}">
      <dgm:prSet/>
      <dgm:spPr>
        <a:solidFill>
          <a:srgbClr val="41A2AA"/>
        </a:solidFill>
        <a:ln>
          <a:solidFill>
            <a:srgbClr val="41A2AA"/>
          </a:solidFill>
        </a:ln>
      </dgm:spPr>
      <dgm:t>
        <a:bodyPr/>
        <a:lstStyle/>
        <a:p>
          <a:endParaRPr lang="en-US" sz="2000">
            <a:latin typeface="Arial"/>
            <a:cs typeface="Arial"/>
          </a:endParaRPr>
        </a:p>
      </dgm:t>
    </dgm:pt>
    <dgm:pt modelId="{DB177C8F-DE1A-DC4A-9D0B-73C480A2B02F}" type="pres">
      <dgm:prSet presAssocID="{13AA0969-AF0E-2240-9CF1-F5D710850637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B97E18A6-1B5E-3A42-B7C0-F8BC2F0C6E95}" type="pres">
      <dgm:prSet presAssocID="{8D2D792C-D791-D942-B4C5-98EA5E9EFF68}" presName="gear1" presStyleLbl="node1" presStyleIdx="0" presStyleCnt="3">
        <dgm:presLayoutVars>
          <dgm:chMax val="1"/>
          <dgm:bulletEnabled val="1"/>
        </dgm:presLayoutVars>
      </dgm:prSet>
      <dgm:spPr/>
    </dgm:pt>
    <dgm:pt modelId="{A3064603-5D87-264E-AF13-7B9CA81F69C5}" type="pres">
      <dgm:prSet presAssocID="{8D2D792C-D791-D942-B4C5-98EA5E9EFF68}" presName="gear1srcNode" presStyleLbl="node1" presStyleIdx="0" presStyleCnt="3"/>
      <dgm:spPr/>
    </dgm:pt>
    <dgm:pt modelId="{43AAE048-45DF-B841-BBF6-121FCAA97480}" type="pres">
      <dgm:prSet presAssocID="{8D2D792C-D791-D942-B4C5-98EA5E9EFF68}" presName="gear1dstNode" presStyleLbl="node1" presStyleIdx="0" presStyleCnt="3"/>
      <dgm:spPr/>
    </dgm:pt>
    <dgm:pt modelId="{9155E736-C838-2C4A-B5A7-1AB881A6881B}" type="pres">
      <dgm:prSet presAssocID="{D8EADE21-91E5-F743-AAE1-AEE160834522}" presName="gear2" presStyleLbl="node1" presStyleIdx="1" presStyleCnt="3" custScaleX="123748" custScaleY="118133">
        <dgm:presLayoutVars>
          <dgm:chMax val="1"/>
          <dgm:bulletEnabled val="1"/>
        </dgm:presLayoutVars>
      </dgm:prSet>
      <dgm:spPr/>
    </dgm:pt>
    <dgm:pt modelId="{50504F73-68AE-A44B-A141-1A6D731E6B06}" type="pres">
      <dgm:prSet presAssocID="{D8EADE21-91E5-F743-AAE1-AEE160834522}" presName="gear2srcNode" presStyleLbl="node1" presStyleIdx="1" presStyleCnt="3"/>
      <dgm:spPr/>
    </dgm:pt>
    <dgm:pt modelId="{FB5CEAFD-7028-4247-BCA7-8413252B6869}" type="pres">
      <dgm:prSet presAssocID="{D8EADE21-91E5-F743-AAE1-AEE160834522}" presName="gear2dstNode" presStyleLbl="node1" presStyleIdx="1" presStyleCnt="3"/>
      <dgm:spPr/>
    </dgm:pt>
    <dgm:pt modelId="{89BF9DA7-C778-0445-9F4C-9B68FCB4FA45}" type="pres">
      <dgm:prSet presAssocID="{930E31B1-72A6-3A45-8BD4-7AD57B6024FA}" presName="gear3" presStyleLbl="node1" presStyleIdx="2" presStyleCnt="3" custScaleX="105401" custLinFactNeighborX="883" custLinFactNeighborY="-629"/>
      <dgm:spPr/>
    </dgm:pt>
    <dgm:pt modelId="{D21E23AE-BA2E-C248-BA01-1F31E394C24D}" type="pres">
      <dgm:prSet presAssocID="{930E31B1-72A6-3A45-8BD4-7AD57B6024FA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5EDC8420-3E53-CE49-B16F-F47434B5F9E5}" type="pres">
      <dgm:prSet presAssocID="{930E31B1-72A6-3A45-8BD4-7AD57B6024FA}" presName="gear3srcNode" presStyleLbl="node1" presStyleIdx="2" presStyleCnt="3"/>
      <dgm:spPr/>
    </dgm:pt>
    <dgm:pt modelId="{F4268DA5-DB9A-7D47-B27A-BFFEBA375058}" type="pres">
      <dgm:prSet presAssocID="{930E31B1-72A6-3A45-8BD4-7AD57B6024FA}" presName="gear3dstNode" presStyleLbl="node1" presStyleIdx="2" presStyleCnt="3"/>
      <dgm:spPr/>
    </dgm:pt>
    <dgm:pt modelId="{2B7714BA-075C-D541-BD02-55C2AFD42A2F}" type="pres">
      <dgm:prSet presAssocID="{26DA48FC-820B-EB47-A002-A8E50493C2A4}" presName="connector1" presStyleLbl="sibTrans2D1" presStyleIdx="0" presStyleCnt="3"/>
      <dgm:spPr/>
    </dgm:pt>
    <dgm:pt modelId="{F5A6B9AF-A9B3-604E-AD19-F9B186926519}" type="pres">
      <dgm:prSet presAssocID="{675DA7ED-C351-EC48-AEB1-415C2203C96D}" presName="connector2" presStyleLbl="sibTrans2D1" presStyleIdx="1" presStyleCnt="3"/>
      <dgm:spPr/>
    </dgm:pt>
    <dgm:pt modelId="{9554E13A-13F7-694A-8205-6455217EAD4D}" type="pres">
      <dgm:prSet presAssocID="{FA59ACEA-C6A8-564B-A3B7-634FE15EC24B}" presName="connector3" presStyleLbl="sibTrans2D1" presStyleIdx="2" presStyleCnt="3"/>
      <dgm:spPr/>
    </dgm:pt>
  </dgm:ptLst>
  <dgm:cxnLst>
    <dgm:cxn modelId="{B692810B-6ED5-442C-B898-95437A1A1D0D}" type="presOf" srcId="{8D2D792C-D791-D942-B4C5-98EA5E9EFF68}" destId="{43AAE048-45DF-B841-BBF6-121FCAA97480}" srcOrd="2" destOrd="0" presId="urn:microsoft.com/office/officeart/2005/8/layout/gear1"/>
    <dgm:cxn modelId="{85FC3E0D-35F6-4D0C-9F6C-E893DF8FAD8C}" type="presOf" srcId="{930E31B1-72A6-3A45-8BD4-7AD57B6024FA}" destId="{89BF9DA7-C778-0445-9F4C-9B68FCB4FA45}" srcOrd="0" destOrd="0" presId="urn:microsoft.com/office/officeart/2005/8/layout/gear1"/>
    <dgm:cxn modelId="{726A986A-137C-A447-9DF1-766FAE06FE62}" srcId="{13AA0969-AF0E-2240-9CF1-F5D710850637}" destId="{8D2D792C-D791-D942-B4C5-98EA5E9EFF68}" srcOrd="0" destOrd="0" parTransId="{EDF2767D-F34E-2E42-AF7C-579EDECD81EC}" sibTransId="{26DA48FC-820B-EB47-A002-A8E50493C2A4}"/>
    <dgm:cxn modelId="{79E72657-255B-4CEE-927C-7C572440409E}" type="presOf" srcId="{D8EADE21-91E5-F743-AAE1-AEE160834522}" destId="{50504F73-68AE-A44B-A141-1A6D731E6B06}" srcOrd="1" destOrd="0" presId="urn:microsoft.com/office/officeart/2005/8/layout/gear1"/>
    <dgm:cxn modelId="{B47C8785-2A6C-46A8-B91A-049761F9D2F2}" type="presOf" srcId="{8D2D792C-D791-D942-B4C5-98EA5E9EFF68}" destId="{A3064603-5D87-264E-AF13-7B9CA81F69C5}" srcOrd="1" destOrd="0" presId="urn:microsoft.com/office/officeart/2005/8/layout/gear1"/>
    <dgm:cxn modelId="{C6AA368A-809B-49DE-B9E0-0AE2499B4F36}" type="presOf" srcId="{D8EADE21-91E5-F743-AAE1-AEE160834522}" destId="{FB5CEAFD-7028-4247-BCA7-8413252B6869}" srcOrd="2" destOrd="0" presId="urn:microsoft.com/office/officeart/2005/8/layout/gear1"/>
    <dgm:cxn modelId="{24B5D88D-5D75-4BF8-83BB-F4D8E5A3BE99}" type="presOf" srcId="{930E31B1-72A6-3A45-8BD4-7AD57B6024FA}" destId="{D21E23AE-BA2E-C248-BA01-1F31E394C24D}" srcOrd="1" destOrd="0" presId="urn:microsoft.com/office/officeart/2005/8/layout/gear1"/>
    <dgm:cxn modelId="{3567B095-255A-4A7F-8E7E-20CCF696197C}" type="presOf" srcId="{FA59ACEA-C6A8-564B-A3B7-634FE15EC24B}" destId="{9554E13A-13F7-694A-8205-6455217EAD4D}" srcOrd="0" destOrd="0" presId="urn:microsoft.com/office/officeart/2005/8/layout/gear1"/>
    <dgm:cxn modelId="{5E527499-5DE4-4785-BE91-864777CB97D2}" type="presOf" srcId="{675DA7ED-C351-EC48-AEB1-415C2203C96D}" destId="{F5A6B9AF-A9B3-604E-AD19-F9B186926519}" srcOrd="0" destOrd="0" presId="urn:microsoft.com/office/officeart/2005/8/layout/gear1"/>
    <dgm:cxn modelId="{D547DFA2-9A9C-49D5-88DC-90B1EA59637D}" type="presOf" srcId="{D8EADE21-91E5-F743-AAE1-AEE160834522}" destId="{9155E736-C838-2C4A-B5A7-1AB881A6881B}" srcOrd="0" destOrd="0" presId="urn:microsoft.com/office/officeart/2005/8/layout/gear1"/>
    <dgm:cxn modelId="{E242F5B2-DE09-4B8B-AA88-EFEFDCCC7EE9}" type="presOf" srcId="{26DA48FC-820B-EB47-A002-A8E50493C2A4}" destId="{2B7714BA-075C-D541-BD02-55C2AFD42A2F}" srcOrd="0" destOrd="0" presId="urn:microsoft.com/office/officeart/2005/8/layout/gear1"/>
    <dgm:cxn modelId="{13580CC2-2570-4F16-8E96-7B745C00DCD4}" type="presOf" srcId="{8D2D792C-D791-D942-B4C5-98EA5E9EFF68}" destId="{B97E18A6-1B5E-3A42-B7C0-F8BC2F0C6E95}" srcOrd="0" destOrd="0" presId="urn:microsoft.com/office/officeart/2005/8/layout/gear1"/>
    <dgm:cxn modelId="{094EABC6-BF34-B147-B3F4-5E020FC80E27}" srcId="{13AA0969-AF0E-2240-9CF1-F5D710850637}" destId="{D8EADE21-91E5-F743-AAE1-AEE160834522}" srcOrd="1" destOrd="0" parTransId="{8A2E0E19-6C0C-EA4D-B599-F6D83B9A92DF}" sibTransId="{675DA7ED-C351-EC48-AEB1-415C2203C96D}"/>
    <dgm:cxn modelId="{ED5C04CD-C2B9-8247-93AD-D912DB45DF8B}" srcId="{13AA0969-AF0E-2240-9CF1-F5D710850637}" destId="{930E31B1-72A6-3A45-8BD4-7AD57B6024FA}" srcOrd="2" destOrd="0" parTransId="{F1B995DC-712F-2340-A136-E39E836754A4}" sibTransId="{FA59ACEA-C6A8-564B-A3B7-634FE15EC24B}"/>
    <dgm:cxn modelId="{E10863F6-575D-47AE-92C7-ED426505E301}" type="presOf" srcId="{930E31B1-72A6-3A45-8BD4-7AD57B6024FA}" destId="{5EDC8420-3E53-CE49-B16F-F47434B5F9E5}" srcOrd="2" destOrd="0" presId="urn:microsoft.com/office/officeart/2005/8/layout/gear1"/>
    <dgm:cxn modelId="{0F0DD5F6-05B3-4BED-85BE-323193F299EE}" type="presOf" srcId="{13AA0969-AF0E-2240-9CF1-F5D710850637}" destId="{DB177C8F-DE1A-DC4A-9D0B-73C480A2B02F}" srcOrd="0" destOrd="0" presId="urn:microsoft.com/office/officeart/2005/8/layout/gear1"/>
    <dgm:cxn modelId="{63A6E2FC-A6BE-408A-9EE3-4C146CCD02D3}" type="presOf" srcId="{930E31B1-72A6-3A45-8BD4-7AD57B6024FA}" destId="{F4268DA5-DB9A-7D47-B27A-BFFEBA375058}" srcOrd="3" destOrd="0" presId="urn:microsoft.com/office/officeart/2005/8/layout/gear1"/>
    <dgm:cxn modelId="{B57EBA76-F465-4ACB-A0EF-BDDB769FB597}" type="presParOf" srcId="{DB177C8F-DE1A-DC4A-9D0B-73C480A2B02F}" destId="{B97E18A6-1B5E-3A42-B7C0-F8BC2F0C6E95}" srcOrd="0" destOrd="0" presId="urn:microsoft.com/office/officeart/2005/8/layout/gear1"/>
    <dgm:cxn modelId="{E299BB8D-E95B-49EE-825B-CBCA374CB4EF}" type="presParOf" srcId="{DB177C8F-DE1A-DC4A-9D0B-73C480A2B02F}" destId="{A3064603-5D87-264E-AF13-7B9CA81F69C5}" srcOrd="1" destOrd="0" presId="urn:microsoft.com/office/officeart/2005/8/layout/gear1"/>
    <dgm:cxn modelId="{87B19B30-0814-4E6D-A2EE-52973DEB6254}" type="presParOf" srcId="{DB177C8F-DE1A-DC4A-9D0B-73C480A2B02F}" destId="{43AAE048-45DF-B841-BBF6-121FCAA97480}" srcOrd="2" destOrd="0" presId="urn:microsoft.com/office/officeart/2005/8/layout/gear1"/>
    <dgm:cxn modelId="{E1ADD7C6-3295-4096-9EAC-2F004DD72296}" type="presParOf" srcId="{DB177C8F-DE1A-DC4A-9D0B-73C480A2B02F}" destId="{9155E736-C838-2C4A-B5A7-1AB881A6881B}" srcOrd="3" destOrd="0" presId="urn:microsoft.com/office/officeart/2005/8/layout/gear1"/>
    <dgm:cxn modelId="{913804DD-C2F9-4BB1-BDA0-5B6D4AEAF615}" type="presParOf" srcId="{DB177C8F-DE1A-DC4A-9D0B-73C480A2B02F}" destId="{50504F73-68AE-A44B-A141-1A6D731E6B06}" srcOrd="4" destOrd="0" presId="urn:microsoft.com/office/officeart/2005/8/layout/gear1"/>
    <dgm:cxn modelId="{B72E6672-4872-4A63-87B7-80098F49F246}" type="presParOf" srcId="{DB177C8F-DE1A-DC4A-9D0B-73C480A2B02F}" destId="{FB5CEAFD-7028-4247-BCA7-8413252B6869}" srcOrd="5" destOrd="0" presId="urn:microsoft.com/office/officeart/2005/8/layout/gear1"/>
    <dgm:cxn modelId="{19B831EF-8F20-4D12-A523-98DE9288811A}" type="presParOf" srcId="{DB177C8F-DE1A-DC4A-9D0B-73C480A2B02F}" destId="{89BF9DA7-C778-0445-9F4C-9B68FCB4FA45}" srcOrd="6" destOrd="0" presId="urn:microsoft.com/office/officeart/2005/8/layout/gear1"/>
    <dgm:cxn modelId="{09E72543-5110-4BF7-AACA-E8B5584C1A14}" type="presParOf" srcId="{DB177C8F-DE1A-DC4A-9D0B-73C480A2B02F}" destId="{D21E23AE-BA2E-C248-BA01-1F31E394C24D}" srcOrd="7" destOrd="0" presId="urn:microsoft.com/office/officeart/2005/8/layout/gear1"/>
    <dgm:cxn modelId="{B64294B2-EF77-4667-8444-C78CAB87987B}" type="presParOf" srcId="{DB177C8F-DE1A-DC4A-9D0B-73C480A2B02F}" destId="{5EDC8420-3E53-CE49-B16F-F47434B5F9E5}" srcOrd="8" destOrd="0" presId="urn:microsoft.com/office/officeart/2005/8/layout/gear1"/>
    <dgm:cxn modelId="{13E0838D-A2ED-46D7-8072-DE44D26C8C3D}" type="presParOf" srcId="{DB177C8F-DE1A-DC4A-9D0B-73C480A2B02F}" destId="{F4268DA5-DB9A-7D47-B27A-BFFEBA375058}" srcOrd="9" destOrd="0" presId="urn:microsoft.com/office/officeart/2005/8/layout/gear1"/>
    <dgm:cxn modelId="{C608A3F6-EB64-49A6-AF35-EFE01E6B50BE}" type="presParOf" srcId="{DB177C8F-DE1A-DC4A-9D0B-73C480A2B02F}" destId="{2B7714BA-075C-D541-BD02-55C2AFD42A2F}" srcOrd="10" destOrd="0" presId="urn:microsoft.com/office/officeart/2005/8/layout/gear1"/>
    <dgm:cxn modelId="{1D577151-F859-40DB-8E4F-9694A32BD1CC}" type="presParOf" srcId="{DB177C8F-DE1A-DC4A-9D0B-73C480A2B02F}" destId="{F5A6B9AF-A9B3-604E-AD19-F9B186926519}" srcOrd="11" destOrd="0" presId="urn:microsoft.com/office/officeart/2005/8/layout/gear1"/>
    <dgm:cxn modelId="{9F666141-CCE7-4E6F-8E5F-FB16D6CB86CE}" type="presParOf" srcId="{DB177C8F-DE1A-DC4A-9D0B-73C480A2B02F}" destId="{9554E13A-13F7-694A-8205-6455217EAD4D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D67FB31-EED4-426A-BB35-6572AC71EE3C}" type="doc">
      <dgm:prSet loTypeId="urn:microsoft.com/office/officeart/2005/8/layout/vList4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1A18391-575E-4CDC-8F6A-4599F4BF8CB2}">
      <dgm:prSet phldrT="[Text]"/>
      <dgm:spPr>
        <a:solidFill>
          <a:srgbClr val="00558F"/>
        </a:solidFill>
      </dgm:spPr>
      <dgm:t>
        <a:bodyPr/>
        <a:lstStyle/>
        <a:p>
          <a:r>
            <a:rPr lang="ru-RU" dirty="0">
              <a:solidFill>
                <a:schemeClr val="bg1"/>
              </a:solidFill>
            </a:rPr>
            <a:t>Ограниченные ресурсы</a:t>
          </a:r>
          <a:endParaRPr lang="en-US" dirty="0">
            <a:solidFill>
              <a:schemeClr val="bg1"/>
            </a:solidFill>
          </a:endParaRPr>
        </a:p>
      </dgm:t>
    </dgm:pt>
    <dgm:pt modelId="{4B7106B1-5C14-45AB-A197-CB916AFB1E09}" type="parTrans" cxnId="{A5F13153-6FB1-49B2-BDE8-F6F17B7C16CB}">
      <dgm:prSet/>
      <dgm:spPr/>
      <dgm:t>
        <a:bodyPr/>
        <a:lstStyle/>
        <a:p>
          <a:endParaRPr lang="en-US"/>
        </a:p>
      </dgm:t>
    </dgm:pt>
    <dgm:pt modelId="{75D6BAFD-FD09-4A21-8FB4-68D6405CEF4A}" type="sibTrans" cxnId="{A5F13153-6FB1-49B2-BDE8-F6F17B7C16CB}">
      <dgm:prSet/>
      <dgm:spPr/>
      <dgm:t>
        <a:bodyPr/>
        <a:lstStyle/>
        <a:p>
          <a:endParaRPr lang="en-US"/>
        </a:p>
      </dgm:t>
    </dgm:pt>
    <dgm:pt modelId="{24F6E1F5-3C10-4451-AF21-A97345F12524}">
      <dgm:prSet/>
      <dgm:spPr>
        <a:solidFill>
          <a:srgbClr val="00558F"/>
        </a:solidFill>
      </dgm:spPr>
      <dgm:t>
        <a:bodyPr/>
        <a:lstStyle/>
        <a:p>
          <a:r>
            <a:rPr lang="ru-RU" dirty="0">
              <a:solidFill>
                <a:schemeClr val="bg1"/>
              </a:solidFill>
            </a:rPr>
            <a:t>Множество аналогичных запросов</a:t>
          </a:r>
          <a:endParaRPr lang="de-DE" dirty="0">
            <a:solidFill>
              <a:schemeClr val="bg1"/>
            </a:solidFill>
          </a:endParaRPr>
        </a:p>
      </dgm:t>
    </dgm:pt>
    <dgm:pt modelId="{9E3E71EC-112A-4B2D-9307-1C531CF08026}" type="parTrans" cxnId="{456D9AD5-870A-4BD8-8DF1-990D08D7E2F9}">
      <dgm:prSet/>
      <dgm:spPr/>
      <dgm:t>
        <a:bodyPr/>
        <a:lstStyle/>
        <a:p>
          <a:endParaRPr lang="en-US"/>
        </a:p>
      </dgm:t>
    </dgm:pt>
    <dgm:pt modelId="{48A67071-024C-4BB5-ABD8-00DA82617085}" type="sibTrans" cxnId="{456D9AD5-870A-4BD8-8DF1-990D08D7E2F9}">
      <dgm:prSet/>
      <dgm:spPr/>
      <dgm:t>
        <a:bodyPr/>
        <a:lstStyle/>
        <a:p>
          <a:endParaRPr lang="en-US"/>
        </a:p>
      </dgm:t>
    </dgm:pt>
    <dgm:pt modelId="{F01C2D30-DFE0-41F2-B64A-93E27581C64A}">
      <dgm:prSet/>
      <dgm:spPr>
        <a:solidFill>
          <a:srgbClr val="00558F"/>
        </a:solidFill>
      </dgm:spPr>
      <dgm:t>
        <a:bodyPr/>
        <a:lstStyle/>
        <a:p>
          <a:r>
            <a:rPr lang="ru-RU" dirty="0">
              <a:solidFill>
                <a:schemeClr val="bg1"/>
              </a:solidFill>
            </a:rPr>
            <a:t>Другие более актуальные проблемы</a:t>
          </a:r>
          <a:endParaRPr lang="de-DE" dirty="0">
            <a:solidFill>
              <a:schemeClr val="bg1"/>
            </a:solidFill>
          </a:endParaRPr>
        </a:p>
      </dgm:t>
    </dgm:pt>
    <dgm:pt modelId="{F41AF52E-5F49-4D52-A8B4-F61A0818EAE0}" type="parTrans" cxnId="{1D27D9F9-45CB-4AD7-A625-DEA6E219957F}">
      <dgm:prSet/>
      <dgm:spPr/>
      <dgm:t>
        <a:bodyPr/>
        <a:lstStyle/>
        <a:p>
          <a:endParaRPr lang="en-US"/>
        </a:p>
      </dgm:t>
    </dgm:pt>
    <dgm:pt modelId="{24C210CF-2EAF-494B-9542-CE44F63D415E}" type="sibTrans" cxnId="{1D27D9F9-45CB-4AD7-A625-DEA6E219957F}">
      <dgm:prSet/>
      <dgm:spPr/>
      <dgm:t>
        <a:bodyPr/>
        <a:lstStyle/>
        <a:p>
          <a:endParaRPr lang="en-US"/>
        </a:p>
      </dgm:t>
    </dgm:pt>
    <dgm:pt modelId="{FAA5E94E-F4BC-4748-BBBA-D92A91EEA0E2}">
      <dgm:prSet/>
      <dgm:spPr>
        <a:solidFill>
          <a:srgbClr val="00558F"/>
        </a:solidFill>
      </dgm:spPr>
      <dgm:t>
        <a:bodyPr/>
        <a:lstStyle/>
        <a:p>
          <a:r>
            <a:rPr lang="ru-RU" dirty="0">
              <a:solidFill>
                <a:schemeClr val="bg1"/>
              </a:solidFill>
            </a:rPr>
            <a:t>Часто фокус на краткосрочные результаты</a:t>
          </a:r>
          <a:endParaRPr lang="de-DE" dirty="0">
            <a:solidFill>
              <a:schemeClr val="bg1"/>
            </a:solidFill>
          </a:endParaRPr>
        </a:p>
      </dgm:t>
    </dgm:pt>
    <dgm:pt modelId="{63B31D19-CDE9-419A-8921-FA75DE11F6A3}" type="parTrans" cxnId="{CB46CB21-37DD-4ECD-BB5A-9D054659074F}">
      <dgm:prSet/>
      <dgm:spPr/>
      <dgm:t>
        <a:bodyPr/>
        <a:lstStyle/>
        <a:p>
          <a:endParaRPr lang="en-US"/>
        </a:p>
      </dgm:t>
    </dgm:pt>
    <dgm:pt modelId="{8FABB19C-8E07-413B-89B4-A1FB8A1A70A0}" type="sibTrans" cxnId="{CB46CB21-37DD-4ECD-BB5A-9D054659074F}">
      <dgm:prSet/>
      <dgm:spPr/>
      <dgm:t>
        <a:bodyPr/>
        <a:lstStyle/>
        <a:p>
          <a:endParaRPr lang="en-US"/>
        </a:p>
      </dgm:t>
    </dgm:pt>
    <dgm:pt modelId="{5B8D5834-402E-426E-8CA2-80F742BA7080}" type="pres">
      <dgm:prSet presAssocID="{2D67FB31-EED4-426A-BB35-6572AC71EE3C}" presName="linear" presStyleCnt="0">
        <dgm:presLayoutVars>
          <dgm:dir/>
          <dgm:resizeHandles val="exact"/>
        </dgm:presLayoutVars>
      </dgm:prSet>
      <dgm:spPr/>
    </dgm:pt>
    <dgm:pt modelId="{5B8EB404-32A4-4719-B53D-13DFD9DC469F}" type="pres">
      <dgm:prSet presAssocID="{E1A18391-575E-4CDC-8F6A-4599F4BF8CB2}" presName="comp" presStyleCnt="0"/>
      <dgm:spPr/>
    </dgm:pt>
    <dgm:pt modelId="{05908D05-2899-4609-B723-5A03052FA911}" type="pres">
      <dgm:prSet presAssocID="{E1A18391-575E-4CDC-8F6A-4599F4BF8CB2}" presName="box" presStyleLbl="node1" presStyleIdx="0" presStyleCnt="4"/>
      <dgm:spPr/>
    </dgm:pt>
    <dgm:pt modelId="{18C0AF7B-BDDF-4FCD-AAD3-8B11853929EC}" type="pres">
      <dgm:prSet presAssocID="{E1A18391-575E-4CDC-8F6A-4599F4BF8CB2}" presName="img" presStyleLbl="fgImgPlac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</dgm:spPr>
    </dgm:pt>
    <dgm:pt modelId="{3261B399-AEFE-42F7-9481-0A9781843A33}" type="pres">
      <dgm:prSet presAssocID="{E1A18391-575E-4CDC-8F6A-4599F4BF8CB2}" presName="text" presStyleLbl="node1" presStyleIdx="0" presStyleCnt="4">
        <dgm:presLayoutVars>
          <dgm:bulletEnabled val="1"/>
        </dgm:presLayoutVars>
      </dgm:prSet>
      <dgm:spPr/>
    </dgm:pt>
    <dgm:pt modelId="{BC85279F-7630-48F0-BE4F-5381D7766DE8}" type="pres">
      <dgm:prSet presAssocID="{75D6BAFD-FD09-4A21-8FB4-68D6405CEF4A}" presName="spacer" presStyleCnt="0"/>
      <dgm:spPr/>
    </dgm:pt>
    <dgm:pt modelId="{BDEF75FA-28AB-4C84-B2BD-D3E32753B938}" type="pres">
      <dgm:prSet presAssocID="{24F6E1F5-3C10-4451-AF21-A97345F12524}" presName="comp" presStyleCnt="0"/>
      <dgm:spPr/>
    </dgm:pt>
    <dgm:pt modelId="{D104199D-E50E-499D-95D1-DE0E30E59962}" type="pres">
      <dgm:prSet presAssocID="{24F6E1F5-3C10-4451-AF21-A97345F12524}" presName="box" presStyleLbl="node1" presStyleIdx="1" presStyleCnt="4"/>
      <dgm:spPr/>
    </dgm:pt>
    <dgm:pt modelId="{8A9BEA6E-B15A-4B23-99A3-A2EE5EAABE5A}" type="pres">
      <dgm:prSet presAssocID="{24F6E1F5-3C10-4451-AF21-A97345F12524}" presName="img" presStyleLbl="fgImgPlace1" presStyleIdx="1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</dgm:spPr>
    </dgm:pt>
    <dgm:pt modelId="{E567D9DE-EA6A-47F8-A2EE-21E672F55BAE}" type="pres">
      <dgm:prSet presAssocID="{24F6E1F5-3C10-4451-AF21-A97345F12524}" presName="text" presStyleLbl="node1" presStyleIdx="1" presStyleCnt="4">
        <dgm:presLayoutVars>
          <dgm:bulletEnabled val="1"/>
        </dgm:presLayoutVars>
      </dgm:prSet>
      <dgm:spPr/>
    </dgm:pt>
    <dgm:pt modelId="{24206F59-E90C-4C73-94BE-3DA482FBF8AA}" type="pres">
      <dgm:prSet presAssocID="{48A67071-024C-4BB5-ABD8-00DA82617085}" presName="spacer" presStyleCnt="0"/>
      <dgm:spPr/>
    </dgm:pt>
    <dgm:pt modelId="{2F6E80B2-F320-4868-AF07-09412EA3F04F}" type="pres">
      <dgm:prSet presAssocID="{F01C2D30-DFE0-41F2-B64A-93E27581C64A}" presName="comp" presStyleCnt="0"/>
      <dgm:spPr/>
    </dgm:pt>
    <dgm:pt modelId="{31CF2F29-D825-476C-910B-749E339B5FFF}" type="pres">
      <dgm:prSet presAssocID="{F01C2D30-DFE0-41F2-B64A-93E27581C64A}" presName="box" presStyleLbl="node1" presStyleIdx="2" presStyleCnt="4"/>
      <dgm:spPr/>
    </dgm:pt>
    <dgm:pt modelId="{D23D948F-2F36-4EB7-AB63-A7C74A2ACDF2}" type="pres">
      <dgm:prSet presAssocID="{F01C2D30-DFE0-41F2-B64A-93E27581C64A}" presName="img" presStyleLbl="fgImgPlace1" presStyleIdx="2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</dgm:spPr>
    </dgm:pt>
    <dgm:pt modelId="{EF6F1C8A-947C-4106-A30D-8AB93C1671D2}" type="pres">
      <dgm:prSet presAssocID="{F01C2D30-DFE0-41F2-B64A-93E27581C64A}" presName="text" presStyleLbl="node1" presStyleIdx="2" presStyleCnt="4">
        <dgm:presLayoutVars>
          <dgm:bulletEnabled val="1"/>
        </dgm:presLayoutVars>
      </dgm:prSet>
      <dgm:spPr/>
    </dgm:pt>
    <dgm:pt modelId="{9DD7004A-4263-4CBB-ADC4-240ADB7422B9}" type="pres">
      <dgm:prSet presAssocID="{24C210CF-2EAF-494B-9542-CE44F63D415E}" presName="spacer" presStyleCnt="0"/>
      <dgm:spPr/>
    </dgm:pt>
    <dgm:pt modelId="{1FC877EF-F2D0-4454-8606-27282D505078}" type="pres">
      <dgm:prSet presAssocID="{FAA5E94E-F4BC-4748-BBBA-D92A91EEA0E2}" presName="comp" presStyleCnt="0"/>
      <dgm:spPr/>
    </dgm:pt>
    <dgm:pt modelId="{C8DC6C0E-C276-45A5-8F35-7AF536574BC8}" type="pres">
      <dgm:prSet presAssocID="{FAA5E94E-F4BC-4748-BBBA-D92A91EEA0E2}" presName="box" presStyleLbl="node1" presStyleIdx="3" presStyleCnt="4"/>
      <dgm:spPr/>
    </dgm:pt>
    <dgm:pt modelId="{B2836E6E-C799-44CE-9183-06228DFA2883}" type="pres">
      <dgm:prSet presAssocID="{FAA5E94E-F4BC-4748-BBBA-D92A91EEA0E2}" presName="img" presStyleLbl="fgImgPlace1" presStyleIdx="3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</dgm:spPr>
    </dgm:pt>
    <dgm:pt modelId="{6E0F83AF-EB88-4288-B621-0BE60B67358E}" type="pres">
      <dgm:prSet presAssocID="{FAA5E94E-F4BC-4748-BBBA-D92A91EEA0E2}" presName="text" presStyleLbl="node1" presStyleIdx="3" presStyleCnt="4">
        <dgm:presLayoutVars>
          <dgm:bulletEnabled val="1"/>
        </dgm:presLayoutVars>
      </dgm:prSet>
      <dgm:spPr/>
    </dgm:pt>
  </dgm:ptLst>
  <dgm:cxnLst>
    <dgm:cxn modelId="{2DADEB1A-3DF1-47CC-900C-49869CD533F2}" type="presOf" srcId="{E1A18391-575E-4CDC-8F6A-4599F4BF8CB2}" destId="{3261B399-AEFE-42F7-9481-0A9781843A33}" srcOrd="1" destOrd="0" presId="urn:microsoft.com/office/officeart/2005/8/layout/vList4#1"/>
    <dgm:cxn modelId="{CB46CB21-37DD-4ECD-BB5A-9D054659074F}" srcId="{2D67FB31-EED4-426A-BB35-6572AC71EE3C}" destId="{FAA5E94E-F4BC-4748-BBBA-D92A91EEA0E2}" srcOrd="3" destOrd="0" parTransId="{63B31D19-CDE9-419A-8921-FA75DE11F6A3}" sibTransId="{8FABB19C-8E07-413B-89B4-A1FB8A1A70A0}"/>
    <dgm:cxn modelId="{20029239-89B2-4654-B327-87DA2C7C4365}" type="presOf" srcId="{FAA5E94E-F4BC-4748-BBBA-D92A91EEA0E2}" destId="{C8DC6C0E-C276-45A5-8F35-7AF536574BC8}" srcOrd="0" destOrd="0" presId="urn:microsoft.com/office/officeart/2005/8/layout/vList4#1"/>
    <dgm:cxn modelId="{A924474B-4E4B-4543-B31F-3A8807D426F5}" type="presOf" srcId="{E1A18391-575E-4CDC-8F6A-4599F4BF8CB2}" destId="{05908D05-2899-4609-B723-5A03052FA911}" srcOrd="0" destOrd="0" presId="urn:microsoft.com/office/officeart/2005/8/layout/vList4#1"/>
    <dgm:cxn modelId="{A5F13153-6FB1-49B2-BDE8-F6F17B7C16CB}" srcId="{2D67FB31-EED4-426A-BB35-6572AC71EE3C}" destId="{E1A18391-575E-4CDC-8F6A-4599F4BF8CB2}" srcOrd="0" destOrd="0" parTransId="{4B7106B1-5C14-45AB-A197-CB916AFB1E09}" sibTransId="{75D6BAFD-FD09-4A21-8FB4-68D6405CEF4A}"/>
    <dgm:cxn modelId="{9D75738E-8473-45FE-AF38-B515B5094927}" type="presOf" srcId="{2D67FB31-EED4-426A-BB35-6572AC71EE3C}" destId="{5B8D5834-402E-426E-8CA2-80F742BA7080}" srcOrd="0" destOrd="0" presId="urn:microsoft.com/office/officeart/2005/8/layout/vList4#1"/>
    <dgm:cxn modelId="{06722F9E-0AED-4343-8041-CA03B3242FE8}" type="presOf" srcId="{F01C2D30-DFE0-41F2-B64A-93E27581C64A}" destId="{31CF2F29-D825-476C-910B-749E339B5FFF}" srcOrd="0" destOrd="0" presId="urn:microsoft.com/office/officeart/2005/8/layout/vList4#1"/>
    <dgm:cxn modelId="{73403AA2-D1C0-4092-99B8-5AD9C0761AF5}" type="presOf" srcId="{FAA5E94E-F4BC-4748-BBBA-D92A91EEA0E2}" destId="{6E0F83AF-EB88-4288-B621-0BE60B67358E}" srcOrd="1" destOrd="0" presId="urn:microsoft.com/office/officeart/2005/8/layout/vList4#1"/>
    <dgm:cxn modelId="{5CEBDFB3-83F1-496E-A806-2ADB480C2305}" type="presOf" srcId="{F01C2D30-DFE0-41F2-B64A-93E27581C64A}" destId="{EF6F1C8A-947C-4106-A30D-8AB93C1671D2}" srcOrd="1" destOrd="0" presId="urn:microsoft.com/office/officeart/2005/8/layout/vList4#1"/>
    <dgm:cxn modelId="{D612AFC6-0AD6-45AC-911D-0F6D45F5CD82}" type="presOf" srcId="{24F6E1F5-3C10-4451-AF21-A97345F12524}" destId="{E567D9DE-EA6A-47F8-A2EE-21E672F55BAE}" srcOrd="1" destOrd="0" presId="urn:microsoft.com/office/officeart/2005/8/layout/vList4#1"/>
    <dgm:cxn modelId="{456D9AD5-870A-4BD8-8DF1-990D08D7E2F9}" srcId="{2D67FB31-EED4-426A-BB35-6572AC71EE3C}" destId="{24F6E1F5-3C10-4451-AF21-A97345F12524}" srcOrd="1" destOrd="0" parTransId="{9E3E71EC-112A-4B2D-9307-1C531CF08026}" sibTransId="{48A67071-024C-4BB5-ABD8-00DA82617085}"/>
    <dgm:cxn modelId="{35C5F2D6-CDEC-44AD-9840-CCF4F44A867C}" type="presOf" srcId="{24F6E1F5-3C10-4451-AF21-A97345F12524}" destId="{D104199D-E50E-499D-95D1-DE0E30E59962}" srcOrd="0" destOrd="0" presId="urn:microsoft.com/office/officeart/2005/8/layout/vList4#1"/>
    <dgm:cxn modelId="{1D27D9F9-45CB-4AD7-A625-DEA6E219957F}" srcId="{2D67FB31-EED4-426A-BB35-6572AC71EE3C}" destId="{F01C2D30-DFE0-41F2-B64A-93E27581C64A}" srcOrd="2" destOrd="0" parTransId="{F41AF52E-5F49-4D52-A8B4-F61A0818EAE0}" sibTransId="{24C210CF-2EAF-494B-9542-CE44F63D415E}"/>
    <dgm:cxn modelId="{55DAE4E1-33D6-4B04-8F2F-20D3E50F55FD}" type="presParOf" srcId="{5B8D5834-402E-426E-8CA2-80F742BA7080}" destId="{5B8EB404-32A4-4719-B53D-13DFD9DC469F}" srcOrd="0" destOrd="0" presId="urn:microsoft.com/office/officeart/2005/8/layout/vList4#1"/>
    <dgm:cxn modelId="{84DCB822-BDF7-438E-B1D3-C16F4CBD9518}" type="presParOf" srcId="{5B8EB404-32A4-4719-B53D-13DFD9DC469F}" destId="{05908D05-2899-4609-B723-5A03052FA911}" srcOrd="0" destOrd="0" presId="urn:microsoft.com/office/officeart/2005/8/layout/vList4#1"/>
    <dgm:cxn modelId="{EE462255-9BD0-4920-B615-C05DFA1F7DE4}" type="presParOf" srcId="{5B8EB404-32A4-4719-B53D-13DFD9DC469F}" destId="{18C0AF7B-BDDF-4FCD-AAD3-8B11853929EC}" srcOrd="1" destOrd="0" presId="urn:microsoft.com/office/officeart/2005/8/layout/vList4#1"/>
    <dgm:cxn modelId="{25215D5B-4571-4A79-AF43-CE545AB67EBF}" type="presParOf" srcId="{5B8EB404-32A4-4719-B53D-13DFD9DC469F}" destId="{3261B399-AEFE-42F7-9481-0A9781843A33}" srcOrd="2" destOrd="0" presId="urn:microsoft.com/office/officeart/2005/8/layout/vList4#1"/>
    <dgm:cxn modelId="{15BED53D-2FA7-4E9E-B0B1-C15C4521FED4}" type="presParOf" srcId="{5B8D5834-402E-426E-8CA2-80F742BA7080}" destId="{BC85279F-7630-48F0-BE4F-5381D7766DE8}" srcOrd="1" destOrd="0" presId="urn:microsoft.com/office/officeart/2005/8/layout/vList4#1"/>
    <dgm:cxn modelId="{DE0C38C0-79DA-416D-9333-8B97CE3E8DD0}" type="presParOf" srcId="{5B8D5834-402E-426E-8CA2-80F742BA7080}" destId="{BDEF75FA-28AB-4C84-B2BD-D3E32753B938}" srcOrd="2" destOrd="0" presId="urn:microsoft.com/office/officeart/2005/8/layout/vList4#1"/>
    <dgm:cxn modelId="{938CEDB0-31AB-4AFF-AE48-3FE14A26DAE0}" type="presParOf" srcId="{BDEF75FA-28AB-4C84-B2BD-D3E32753B938}" destId="{D104199D-E50E-499D-95D1-DE0E30E59962}" srcOrd="0" destOrd="0" presId="urn:microsoft.com/office/officeart/2005/8/layout/vList4#1"/>
    <dgm:cxn modelId="{55411DEE-2B3B-4E4F-A98A-ACC156F6C495}" type="presParOf" srcId="{BDEF75FA-28AB-4C84-B2BD-D3E32753B938}" destId="{8A9BEA6E-B15A-4B23-99A3-A2EE5EAABE5A}" srcOrd="1" destOrd="0" presId="urn:microsoft.com/office/officeart/2005/8/layout/vList4#1"/>
    <dgm:cxn modelId="{F77683CB-3D84-46F0-9518-DFA8234BD7F8}" type="presParOf" srcId="{BDEF75FA-28AB-4C84-B2BD-D3E32753B938}" destId="{E567D9DE-EA6A-47F8-A2EE-21E672F55BAE}" srcOrd="2" destOrd="0" presId="urn:microsoft.com/office/officeart/2005/8/layout/vList4#1"/>
    <dgm:cxn modelId="{187EE99D-3B21-4029-8DF4-C5D179F93898}" type="presParOf" srcId="{5B8D5834-402E-426E-8CA2-80F742BA7080}" destId="{24206F59-E90C-4C73-94BE-3DA482FBF8AA}" srcOrd="3" destOrd="0" presId="urn:microsoft.com/office/officeart/2005/8/layout/vList4#1"/>
    <dgm:cxn modelId="{2D513678-C020-4210-A950-2F1FF7C46856}" type="presParOf" srcId="{5B8D5834-402E-426E-8CA2-80F742BA7080}" destId="{2F6E80B2-F320-4868-AF07-09412EA3F04F}" srcOrd="4" destOrd="0" presId="urn:microsoft.com/office/officeart/2005/8/layout/vList4#1"/>
    <dgm:cxn modelId="{5CF0B2DD-2DC8-4024-954F-8CB779E96B0F}" type="presParOf" srcId="{2F6E80B2-F320-4868-AF07-09412EA3F04F}" destId="{31CF2F29-D825-476C-910B-749E339B5FFF}" srcOrd="0" destOrd="0" presId="urn:microsoft.com/office/officeart/2005/8/layout/vList4#1"/>
    <dgm:cxn modelId="{CA46BF44-4D7B-4839-93A2-3029F6539144}" type="presParOf" srcId="{2F6E80B2-F320-4868-AF07-09412EA3F04F}" destId="{D23D948F-2F36-4EB7-AB63-A7C74A2ACDF2}" srcOrd="1" destOrd="0" presId="urn:microsoft.com/office/officeart/2005/8/layout/vList4#1"/>
    <dgm:cxn modelId="{76C399D5-9D45-4D1A-8431-8E3134A3CEBE}" type="presParOf" srcId="{2F6E80B2-F320-4868-AF07-09412EA3F04F}" destId="{EF6F1C8A-947C-4106-A30D-8AB93C1671D2}" srcOrd="2" destOrd="0" presId="urn:microsoft.com/office/officeart/2005/8/layout/vList4#1"/>
    <dgm:cxn modelId="{242802B7-F34D-41C0-85BB-BCF1DD049950}" type="presParOf" srcId="{5B8D5834-402E-426E-8CA2-80F742BA7080}" destId="{9DD7004A-4263-4CBB-ADC4-240ADB7422B9}" srcOrd="5" destOrd="0" presId="urn:microsoft.com/office/officeart/2005/8/layout/vList4#1"/>
    <dgm:cxn modelId="{028292A0-A93B-41B4-92DB-17527FEC62FB}" type="presParOf" srcId="{5B8D5834-402E-426E-8CA2-80F742BA7080}" destId="{1FC877EF-F2D0-4454-8606-27282D505078}" srcOrd="6" destOrd="0" presId="urn:microsoft.com/office/officeart/2005/8/layout/vList4#1"/>
    <dgm:cxn modelId="{D25D1CED-E08A-45DE-B5C4-972615CDB585}" type="presParOf" srcId="{1FC877EF-F2D0-4454-8606-27282D505078}" destId="{C8DC6C0E-C276-45A5-8F35-7AF536574BC8}" srcOrd="0" destOrd="0" presId="urn:microsoft.com/office/officeart/2005/8/layout/vList4#1"/>
    <dgm:cxn modelId="{8F69784A-1BAE-48EA-9AE2-CF1E9DC10D20}" type="presParOf" srcId="{1FC877EF-F2D0-4454-8606-27282D505078}" destId="{B2836E6E-C799-44CE-9183-06228DFA2883}" srcOrd="1" destOrd="0" presId="urn:microsoft.com/office/officeart/2005/8/layout/vList4#1"/>
    <dgm:cxn modelId="{4E5CD525-5E8F-4D20-BA5C-5C00F18CCC92}" type="presParOf" srcId="{1FC877EF-F2D0-4454-8606-27282D505078}" destId="{6E0F83AF-EB88-4288-B621-0BE60B67358E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5B422DF-E9B0-423D-BA88-A67E051E4159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94BA3D2-5B5B-406E-8F8B-FEA697E29617}">
      <dgm:prSet phldrT="[Text]"/>
      <dgm:spPr>
        <a:solidFill>
          <a:srgbClr val="5E8299"/>
        </a:solidFill>
      </dgm:spPr>
      <dgm:t>
        <a:bodyPr/>
        <a:lstStyle/>
        <a:p>
          <a:r>
            <a:rPr lang="ru-RU" dirty="0"/>
            <a:t>Технически сложной темой</a:t>
          </a:r>
          <a:endParaRPr lang="en-US" dirty="0"/>
        </a:p>
      </dgm:t>
    </dgm:pt>
    <dgm:pt modelId="{8EDBBCBF-3B31-4C41-BBD6-9B86014B92F8}" type="parTrans" cxnId="{DA8D32B7-DFA8-46B2-8DEC-F0FB5AD93E51}">
      <dgm:prSet/>
      <dgm:spPr/>
      <dgm:t>
        <a:bodyPr/>
        <a:lstStyle/>
        <a:p>
          <a:endParaRPr lang="en-US"/>
        </a:p>
      </dgm:t>
    </dgm:pt>
    <dgm:pt modelId="{88B9C5AA-DF7A-460F-84D8-B6AD3BF26237}" type="sibTrans" cxnId="{DA8D32B7-DFA8-46B2-8DEC-F0FB5AD93E51}">
      <dgm:prSet/>
      <dgm:spPr>
        <a:ln>
          <a:solidFill>
            <a:srgbClr val="00558F"/>
          </a:solidFill>
        </a:ln>
      </dgm:spPr>
      <dgm:t>
        <a:bodyPr/>
        <a:lstStyle/>
        <a:p>
          <a:endParaRPr lang="en-US"/>
        </a:p>
      </dgm:t>
    </dgm:pt>
    <dgm:pt modelId="{0FBD3DEC-764B-4705-AAFA-F3BDA88B36ED}">
      <dgm:prSet/>
      <dgm:spPr>
        <a:solidFill>
          <a:srgbClr val="5E8299"/>
        </a:solidFill>
      </dgm:spPr>
      <dgm:t>
        <a:bodyPr/>
        <a:lstStyle/>
        <a:p>
          <a:r>
            <a:rPr lang="ru-RU" dirty="0"/>
            <a:t>Областью с короткими и долгосрочными результатами влияния</a:t>
          </a:r>
          <a:endParaRPr lang="de-DE" dirty="0"/>
        </a:p>
      </dgm:t>
    </dgm:pt>
    <dgm:pt modelId="{C200E032-18D9-4045-8499-3759D4961DEC}" type="parTrans" cxnId="{E8242AD9-A2FD-4AA4-B174-7FEBA2CD3EC7}">
      <dgm:prSet/>
      <dgm:spPr/>
      <dgm:t>
        <a:bodyPr/>
        <a:lstStyle/>
        <a:p>
          <a:endParaRPr lang="en-US"/>
        </a:p>
      </dgm:t>
    </dgm:pt>
    <dgm:pt modelId="{3F8AD60F-646E-47A2-850F-ADCEB2886B1B}" type="sibTrans" cxnId="{E8242AD9-A2FD-4AA4-B174-7FEBA2CD3EC7}">
      <dgm:prSet/>
      <dgm:spPr/>
      <dgm:t>
        <a:bodyPr/>
        <a:lstStyle/>
        <a:p>
          <a:endParaRPr lang="en-US"/>
        </a:p>
      </dgm:t>
    </dgm:pt>
    <dgm:pt modelId="{8593FFEA-3F6F-43AF-B4C7-76E783BD9AF5}">
      <dgm:prSet phldrT="[Text]"/>
      <dgm:spPr>
        <a:solidFill>
          <a:srgbClr val="5E8299"/>
        </a:solidFill>
      </dgm:spPr>
      <dgm:t>
        <a:bodyPr/>
        <a:lstStyle/>
        <a:p>
          <a:r>
            <a:rPr lang="ru-RU" dirty="0"/>
            <a:t>Областью, в которой большинство людей плохо разбираются в фактических обстоятельствах</a:t>
          </a:r>
          <a:endParaRPr lang="en-US" dirty="0"/>
        </a:p>
      </dgm:t>
    </dgm:pt>
    <dgm:pt modelId="{7F533501-53E0-4FD9-BCA0-08BB761CA9FA}" type="parTrans" cxnId="{88F78A59-F304-4CB9-BED2-5D69DF7DD907}">
      <dgm:prSet/>
      <dgm:spPr/>
      <dgm:t>
        <a:bodyPr/>
        <a:lstStyle/>
        <a:p>
          <a:endParaRPr lang="en-US"/>
        </a:p>
      </dgm:t>
    </dgm:pt>
    <dgm:pt modelId="{46E204E1-4F9D-48A4-8084-DE35E410F5EC}" type="sibTrans" cxnId="{88F78A59-F304-4CB9-BED2-5D69DF7DD907}">
      <dgm:prSet/>
      <dgm:spPr/>
      <dgm:t>
        <a:bodyPr/>
        <a:lstStyle/>
        <a:p>
          <a:endParaRPr lang="en-US"/>
        </a:p>
      </dgm:t>
    </dgm:pt>
    <dgm:pt modelId="{0AB54B66-47FF-4F8C-AF4C-91A48333170D}" type="pres">
      <dgm:prSet presAssocID="{65B422DF-E9B0-423D-BA88-A67E051E4159}" presName="Name0" presStyleCnt="0">
        <dgm:presLayoutVars>
          <dgm:chMax val="7"/>
          <dgm:chPref val="7"/>
          <dgm:dir/>
        </dgm:presLayoutVars>
      </dgm:prSet>
      <dgm:spPr/>
    </dgm:pt>
    <dgm:pt modelId="{B1DD65D7-E6F6-4E12-9E1D-F3F1A4AED91A}" type="pres">
      <dgm:prSet presAssocID="{65B422DF-E9B0-423D-BA88-A67E051E4159}" presName="Name1" presStyleCnt="0"/>
      <dgm:spPr/>
    </dgm:pt>
    <dgm:pt modelId="{959E62B8-5BDF-4F79-8E9D-7778E97D8C7D}" type="pres">
      <dgm:prSet presAssocID="{65B422DF-E9B0-423D-BA88-A67E051E4159}" presName="cycle" presStyleCnt="0"/>
      <dgm:spPr/>
    </dgm:pt>
    <dgm:pt modelId="{3F18D0B2-F6C5-4058-8BAD-07B13780621E}" type="pres">
      <dgm:prSet presAssocID="{65B422DF-E9B0-423D-BA88-A67E051E4159}" presName="srcNode" presStyleLbl="node1" presStyleIdx="0" presStyleCnt="3"/>
      <dgm:spPr/>
    </dgm:pt>
    <dgm:pt modelId="{1E09BA14-F9AE-4209-836C-AC205998326E}" type="pres">
      <dgm:prSet presAssocID="{65B422DF-E9B0-423D-BA88-A67E051E4159}" presName="conn" presStyleLbl="parChTrans1D2" presStyleIdx="0" presStyleCnt="1"/>
      <dgm:spPr/>
    </dgm:pt>
    <dgm:pt modelId="{93E0EA17-B551-479F-8740-801A93ABE70F}" type="pres">
      <dgm:prSet presAssocID="{65B422DF-E9B0-423D-BA88-A67E051E4159}" presName="extraNode" presStyleLbl="node1" presStyleIdx="0" presStyleCnt="3"/>
      <dgm:spPr/>
    </dgm:pt>
    <dgm:pt modelId="{808002AF-0EF0-4C6E-A8BF-BF8EE3F1FFF0}" type="pres">
      <dgm:prSet presAssocID="{65B422DF-E9B0-423D-BA88-A67E051E4159}" presName="dstNode" presStyleLbl="node1" presStyleIdx="0" presStyleCnt="3"/>
      <dgm:spPr/>
    </dgm:pt>
    <dgm:pt modelId="{83196B8A-3A73-48C6-B98D-B34FB4D2CB4A}" type="pres">
      <dgm:prSet presAssocID="{594BA3D2-5B5B-406E-8F8B-FEA697E29617}" presName="text_1" presStyleLbl="node1" presStyleIdx="0" presStyleCnt="3">
        <dgm:presLayoutVars>
          <dgm:bulletEnabled val="1"/>
        </dgm:presLayoutVars>
      </dgm:prSet>
      <dgm:spPr/>
    </dgm:pt>
    <dgm:pt modelId="{695533A0-3652-429F-9119-DF3A98D4D7D2}" type="pres">
      <dgm:prSet presAssocID="{594BA3D2-5B5B-406E-8F8B-FEA697E29617}" presName="accent_1" presStyleCnt="0"/>
      <dgm:spPr/>
    </dgm:pt>
    <dgm:pt modelId="{0D626F28-373F-4398-92DD-2A24B0DEE044}" type="pres">
      <dgm:prSet presAssocID="{594BA3D2-5B5B-406E-8F8B-FEA697E29617}" presName="accentRepeatNode" presStyleLbl="solidFgAcc1" presStyleIdx="0" presStyleCnt="3"/>
      <dgm:spPr>
        <a:ln>
          <a:solidFill>
            <a:srgbClr val="00558F"/>
          </a:solidFill>
        </a:ln>
      </dgm:spPr>
    </dgm:pt>
    <dgm:pt modelId="{CA7B7C26-FD7F-4A5B-A709-2AF4A34D170B}" type="pres">
      <dgm:prSet presAssocID="{8593FFEA-3F6F-43AF-B4C7-76E783BD9AF5}" presName="text_2" presStyleLbl="node1" presStyleIdx="1" presStyleCnt="3">
        <dgm:presLayoutVars>
          <dgm:bulletEnabled val="1"/>
        </dgm:presLayoutVars>
      </dgm:prSet>
      <dgm:spPr/>
    </dgm:pt>
    <dgm:pt modelId="{84A0DBAB-2B43-4C9F-AEC0-A635BF6509DA}" type="pres">
      <dgm:prSet presAssocID="{8593FFEA-3F6F-43AF-B4C7-76E783BD9AF5}" presName="accent_2" presStyleCnt="0"/>
      <dgm:spPr/>
    </dgm:pt>
    <dgm:pt modelId="{D048981D-57AE-4E5E-92A6-4FD8E46C0A26}" type="pres">
      <dgm:prSet presAssocID="{8593FFEA-3F6F-43AF-B4C7-76E783BD9AF5}" presName="accentRepeatNode" presStyleLbl="solidFgAcc1" presStyleIdx="1" presStyleCnt="3"/>
      <dgm:spPr/>
    </dgm:pt>
    <dgm:pt modelId="{0305DCC7-1241-44B5-8AA5-2A649915DFFD}" type="pres">
      <dgm:prSet presAssocID="{0FBD3DEC-764B-4705-AAFA-F3BDA88B36ED}" presName="text_3" presStyleLbl="node1" presStyleIdx="2" presStyleCnt="3">
        <dgm:presLayoutVars>
          <dgm:bulletEnabled val="1"/>
        </dgm:presLayoutVars>
      </dgm:prSet>
      <dgm:spPr/>
    </dgm:pt>
    <dgm:pt modelId="{196F3DC1-6C5A-451D-BF9D-6B8B89369E48}" type="pres">
      <dgm:prSet presAssocID="{0FBD3DEC-764B-4705-AAFA-F3BDA88B36ED}" presName="accent_3" presStyleCnt="0"/>
      <dgm:spPr/>
    </dgm:pt>
    <dgm:pt modelId="{8E6A793E-E8E7-4734-A066-002DAD2D3B02}" type="pres">
      <dgm:prSet presAssocID="{0FBD3DEC-764B-4705-AAFA-F3BDA88B36ED}" presName="accentRepeatNode" presStyleLbl="solidFgAcc1" presStyleIdx="2" presStyleCnt="3"/>
      <dgm:spPr>
        <a:ln>
          <a:solidFill>
            <a:srgbClr val="00558F"/>
          </a:solidFill>
        </a:ln>
      </dgm:spPr>
    </dgm:pt>
  </dgm:ptLst>
  <dgm:cxnLst>
    <dgm:cxn modelId="{27BEEE10-082E-4A49-9D5E-7F1A6F5B4CC1}" type="presOf" srcId="{8593FFEA-3F6F-43AF-B4C7-76E783BD9AF5}" destId="{CA7B7C26-FD7F-4A5B-A709-2AF4A34D170B}" srcOrd="0" destOrd="0" presId="urn:microsoft.com/office/officeart/2008/layout/VerticalCurvedList"/>
    <dgm:cxn modelId="{31759D23-0781-4FBC-9D2F-7FD6DF5B6B5F}" type="presOf" srcId="{65B422DF-E9B0-423D-BA88-A67E051E4159}" destId="{0AB54B66-47FF-4F8C-AF4C-91A48333170D}" srcOrd="0" destOrd="0" presId="urn:microsoft.com/office/officeart/2008/layout/VerticalCurvedList"/>
    <dgm:cxn modelId="{88F78A59-F304-4CB9-BED2-5D69DF7DD907}" srcId="{65B422DF-E9B0-423D-BA88-A67E051E4159}" destId="{8593FFEA-3F6F-43AF-B4C7-76E783BD9AF5}" srcOrd="1" destOrd="0" parTransId="{7F533501-53E0-4FD9-BCA0-08BB761CA9FA}" sibTransId="{46E204E1-4F9D-48A4-8084-DE35E410F5EC}"/>
    <dgm:cxn modelId="{E547319D-121C-4A34-AA9B-C2323BEEF98A}" type="presOf" srcId="{88B9C5AA-DF7A-460F-84D8-B6AD3BF26237}" destId="{1E09BA14-F9AE-4209-836C-AC205998326E}" srcOrd="0" destOrd="0" presId="urn:microsoft.com/office/officeart/2008/layout/VerticalCurvedList"/>
    <dgm:cxn modelId="{D3CBFFAF-3AB7-471A-83D4-C2BE910FC5A6}" type="presOf" srcId="{0FBD3DEC-764B-4705-AAFA-F3BDA88B36ED}" destId="{0305DCC7-1241-44B5-8AA5-2A649915DFFD}" srcOrd="0" destOrd="0" presId="urn:microsoft.com/office/officeart/2008/layout/VerticalCurvedList"/>
    <dgm:cxn modelId="{DA8D32B7-DFA8-46B2-8DEC-F0FB5AD93E51}" srcId="{65B422DF-E9B0-423D-BA88-A67E051E4159}" destId="{594BA3D2-5B5B-406E-8F8B-FEA697E29617}" srcOrd="0" destOrd="0" parTransId="{8EDBBCBF-3B31-4C41-BBD6-9B86014B92F8}" sibTransId="{88B9C5AA-DF7A-460F-84D8-B6AD3BF26237}"/>
    <dgm:cxn modelId="{E8242AD9-A2FD-4AA4-B174-7FEBA2CD3EC7}" srcId="{65B422DF-E9B0-423D-BA88-A67E051E4159}" destId="{0FBD3DEC-764B-4705-AAFA-F3BDA88B36ED}" srcOrd="2" destOrd="0" parTransId="{C200E032-18D9-4045-8499-3759D4961DEC}" sibTransId="{3F8AD60F-646E-47A2-850F-ADCEB2886B1B}"/>
    <dgm:cxn modelId="{0CD35DFD-819D-44E9-BA23-6248F15A122D}" type="presOf" srcId="{594BA3D2-5B5B-406E-8F8B-FEA697E29617}" destId="{83196B8A-3A73-48C6-B98D-B34FB4D2CB4A}" srcOrd="0" destOrd="0" presId="urn:microsoft.com/office/officeart/2008/layout/VerticalCurvedList"/>
    <dgm:cxn modelId="{1F3F7185-80BD-48D1-9F33-BECAF70A017F}" type="presParOf" srcId="{0AB54B66-47FF-4F8C-AF4C-91A48333170D}" destId="{B1DD65D7-E6F6-4E12-9E1D-F3F1A4AED91A}" srcOrd="0" destOrd="0" presId="urn:microsoft.com/office/officeart/2008/layout/VerticalCurvedList"/>
    <dgm:cxn modelId="{8D6CA66F-84B7-4C26-B833-74339006375A}" type="presParOf" srcId="{B1DD65D7-E6F6-4E12-9E1D-F3F1A4AED91A}" destId="{959E62B8-5BDF-4F79-8E9D-7778E97D8C7D}" srcOrd="0" destOrd="0" presId="urn:microsoft.com/office/officeart/2008/layout/VerticalCurvedList"/>
    <dgm:cxn modelId="{1D35B8D6-E8F7-4596-9A8E-1457FE03C95F}" type="presParOf" srcId="{959E62B8-5BDF-4F79-8E9D-7778E97D8C7D}" destId="{3F18D0B2-F6C5-4058-8BAD-07B13780621E}" srcOrd="0" destOrd="0" presId="urn:microsoft.com/office/officeart/2008/layout/VerticalCurvedList"/>
    <dgm:cxn modelId="{712706B5-2563-42C5-8616-5D49240B4A43}" type="presParOf" srcId="{959E62B8-5BDF-4F79-8E9D-7778E97D8C7D}" destId="{1E09BA14-F9AE-4209-836C-AC205998326E}" srcOrd="1" destOrd="0" presId="urn:microsoft.com/office/officeart/2008/layout/VerticalCurvedList"/>
    <dgm:cxn modelId="{6E77A1C5-0E15-4B8D-851E-F67E69B6A141}" type="presParOf" srcId="{959E62B8-5BDF-4F79-8E9D-7778E97D8C7D}" destId="{93E0EA17-B551-479F-8740-801A93ABE70F}" srcOrd="2" destOrd="0" presId="urn:microsoft.com/office/officeart/2008/layout/VerticalCurvedList"/>
    <dgm:cxn modelId="{92AA8A64-0378-4E33-8BBC-14B40C83FCBA}" type="presParOf" srcId="{959E62B8-5BDF-4F79-8E9D-7778E97D8C7D}" destId="{808002AF-0EF0-4C6E-A8BF-BF8EE3F1FFF0}" srcOrd="3" destOrd="0" presId="urn:microsoft.com/office/officeart/2008/layout/VerticalCurvedList"/>
    <dgm:cxn modelId="{5C9E6634-6CC8-4487-BAE0-E0D509218E2A}" type="presParOf" srcId="{B1DD65D7-E6F6-4E12-9E1D-F3F1A4AED91A}" destId="{83196B8A-3A73-48C6-B98D-B34FB4D2CB4A}" srcOrd="1" destOrd="0" presId="urn:microsoft.com/office/officeart/2008/layout/VerticalCurvedList"/>
    <dgm:cxn modelId="{5A9E3D01-5A91-4F6A-B2F0-6330DA915209}" type="presParOf" srcId="{B1DD65D7-E6F6-4E12-9E1D-F3F1A4AED91A}" destId="{695533A0-3652-429F-9119-DF3A98D4D7D2}" srcOrd="2" destOrd="0" presId="urn:microsoft.com/office/officeart/2008/layout/VerticalCurvedList"/>
    <dgm:cxn modelId="{7415C375-8AAD-4C66-AD0F-2977EFAAD677}" type="presParOf" srcId="{695533A0-3652-429F-9119-DF3A98D4D7D2}" destId="{0D626F28-373F-4398-92DD-2A24B0DEE044}" srcOrd="0" destOrd="0" presId="urn:microsoft.com/office/officeart/2008/layout/VerticalCurvedList"/>
    <dgm:cxn modelId="{A04581D1-8291-4D2A-96D4-8B57DE30E9A9}" type="presParOf" srcId="{B1DD65D7-E6F6-4E12-9E1D-F3F1A4AED91A}" destId="{CA7B7C26-FD7F-4A5B-A709-2AF4A34D170B}" srcOrd="3" destOrd="0" presId="urn:microsoft.com/office/officeart/2008/layout/VerticalCurvedList"/>
    <dgm:cxn modelId="{4FAD0ADF-8C15-43C0-9C97-185F10C05B35}" type="presParOf" srcId="{B1DD65D7-E6F6-4E12-9E1D-F3F1A4AED91A}" destId="{84A0DBAB-2B43-4C9F-AEC0-A635BF6509DA}" srcOrd="4" destOrd="0" presId="urn:microsoft.com/office/officeart/2008/layout/VerticalCurvedList"/>
    <dgm:cxn modelId="{35B691A4-E561-488B-ADFF-96121D426002}" type="presParOf" srcId="{84A0DBAB-2B43-4C9F-AEC0-A635BF6509DA}" destId="{D048981D-57AE-4E5E-92A6-4FD8E46C0A26}" srcOrd="0" destOrd="0" presId="urn:microsoft.com/office/officeart/2008/layout/VerticalCurvedList"/>
    <dgm:cxn modelId="{02B0FE7B-AD52-44ED-A651-808322577ACB}" type="presParOf" srcId="{B1DD65D7-E6F6-4E12-9E1D-F3F1A4AED91A}" destId="{0305DCC7-1241-44B5-8AA5-2A649915DFFD}" srcOrd="5" destOrd="0" presId="urn:microsoft.com/office/officeart/2008/layout/VerticalCurvedList"/>
    <dgm:cxn modelId="{BF23B441-4427-4F0F-BD39-F19B378DE983}" type="presParOf" srcId="{B1DD65D7-E6F6-4E12-9E1D-F3F1A4AED91A}" destId="{196F3DC1-6C5A-451D-BF9D-6B8B89369E48}" srcOrd="6" destOrd="0" presId="urn:microsoft.com/office/officeart/2008/layout/VerticalCurvedList"/>
    <dgm:cxn modelId="{786DB066-7B15-4918-952B-2FF9AC89DB85}" type="presParOf" srcId="{196F3DC1-6C5A-451D-BF9D-6B8B89369E48}" destId="{8E6A793E-E8E7-4734-A066-002DAD2D3B0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FD97A38-B301-494E-825D-3863E5E4F0F3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26938EAE-70BC-415C-9B85-8894FA7929A2}">
      <dgm:prSet phldrT="[Text]" custT="1"/>
      <dgm:spPr>
        <a:solidFill>
          <a:srgbClr val="41A2AA"/>
        </a:solidFill>
      </dgm:spPr>
      <dgm:t>
        <a:bodyPr/>
        <a:lstStyle/>
        <a:p>
          <a:r>
            <a:rPr lang="ru-RU" sz="1200" b="1" dirty="0"/>
            <a:t>Январь: работа начинается в Министерстве финансов</a:t>
          </a:r>
          <a:endParaRPr lang="en-US" sz="1200" dirty="0"/>
        </a:p>
      </dgm:t>
    </dgm:pt>
    <dgm:pt modelId="{EF8A03D2-4D05-4712-A269-3349475AF6D4}" type="parTrans" cxnId="{B97E51F8-0BB6-4C32-942A-EAD3B0F09D74}">
      <dgm:prSet/>
      <dgm:spPr/>
      <dgm:t>
        <a:bodyPr/>
        <a:lstStyle/>
        <a:p>
          <a:endParaRPr lang="en-US"/>
        </a:p>
      </dgm:t>
    </dgm:pt>
    <dgm:pt modelId="{4D420401-6067-4A83-8A4E-111528D8FE36}" type="sibTrans" cxnId="{B97E51F8-0BB6-4C32-942A-EAD3B0F09D74}">
      <dgm:prSet/>
      <dgm:spPr/>
      <dgm:t>
        <a:bodyPr/>
        <a:lstStyle/>
        <a:p>
          <a:endParaRPr lang="en-US"/>
        </a:p>
      </dgm:t>
    </dgm:pt>
    <dgm:pt modelId="{12DB52B0-9CDA-444F-9D6C-B42CCC2D351A}">
      <dgm:prSet custT="1"/>
      <dgm:spPr>
        <a:solidFill>
          <a:srgbClr val="00558F"/>
        </a:solidFill>
      </dgm:spPr>
      <dgm:t>
        <a:bodyPr/>
        <a:lstStyle/>
        <a:p>
          <a:r>
            <a:rPr lang="ru-RU" sz="1200" b="1" dirty="0"/>
            <a:t>Апрель: к процессу подключаются другие соответствующие министерства</a:t>
          </a:r>
          <a:endParaRPr lang="de-DE" sz="1200" dirty="0"/>
        </a:p>
      </dgm:t>
    </dgm:pt>
    <dgm:pt modelId="{AF75FAF1-7D2C-4C64-B905-C71542AF20B6}" type="parTrans" cxnId="{CB8B56A8-F645-4032-A3F3-31D848C53493}">
      <dgm:prSet/>
      <dgm:spPr/>
      <dgm:t>
        <a:bodyPr/>
        <a:lstStyle/>
        <a:p>
          <a:endParaRPr lang="en-US"/>
        </a:p>
      </dgm:t>
    </dgm:pt>
    <dgm:pt modelId="{196D538D-01E1-454C-B78B-F9F75C5B3F52}" type="sibTrans" cxnId="{CB8B56A8-F645-4032-A3F3-31D848C53493}">
      <dgm:prSet/>
      <dgm:spPr/>
      <dgm:t>
        <a:bodyPr/>
        <a:lstStyle/>
        <a:p>
          <a:endParaRPr lang="en-US"/>
        </a:p>
      </dgm:t>
    </dgm:pt>
    <dgm:pt modelId="{6ED27E43-A3BF-45C4-B909-C42EA8549BE9}">
      <dgm:prSet/>
      <dgm:spPr>
        <a:solidFill>
          <a:srgbClr val="0055BD"/>
        </a:solidFill>
      </dgm:spPr>
      <dgm:t>
        <a:bodyPr/>
        <a:lstStyle/>
        <a:p>
          <a:r>
            <a:rPr lang="ru-RU" b="1" dirty="0"/>
            <a:t>Июнь: решения правительства</a:t>
          </a:r>
          <a:endParaRPr lang="de-DE" dirty="0"/>
        </a:p>
      </dgm:t>
    </dgm:pt>
    <dgm:pt modelId="{019A5C0B-CB21-471E-85A8-4C67F17DADA0}" type="parTrans" cxnId="{4C2A835C-7170-41C4-8A63-E3F4A9CDAF55}">
      <dgm:prSet/>
      <dgm:spPr/>
      <dgm:t>
        <a:bodyPr/>
        <a:lstStyle/>
        <a:p>
          <a:endParaRPr lang="en-US"/>
        </a:p>
      </dgm:t>
    </dgm:pt>
    <dgm:pt modelId="{4C67984E-CE3B-4D36-805D-E65999F83C58}" type="sibTrans" cxnId="{4C2A835C-7170-41C4-8A63-E3F4A9CDAF55}">
      <dgm:prSet/>
      <dgm:spPr/>
      <dgm:t>
        <a:bodyPr/>
        <a:lstStyle/>
        <a:p>
          <a:endParaRPr lang="en-US"/>
        </a:p>
      </dgm:t>
    </dgm:pt>
    <dgm:pt modelId="{C0435405-93F5-4177-AE9B-375CB646C1DF}">
      <dgm:prSet/>
      <dgm:spPr>
        <a:solidFill>
          <a:srgbClr val="5E8299"/>
        </a:solidFill>
      </dgm:spPr>
      <dgm:t>
        <a:bodyPr/>
        <a:lstStyle/>
        <a:p>
          <a:r>
            <a:rPr lang="ru-RU" b="1" dirty="0"/>
            <a:t>Сентябрь: представление в парламент</a:t>
          </a:r>
          <a:endParaRPr lang="de-DE" dirty="0"/>
        </a:p>
      </dgm:t>
    </dgm:pt>
    <dgm:pt modelId="{B632E99B-A646-4101-AB71-544206B0F7BF}" type="parTrans" cxnId="{B2F7FEB3-C28E-4441-9D37-E1CB44460469}">
      <dgm:prSet/>
      <dgm:spPr/>
      <dgm:t>
        <a:bodyPr/>
        <a:lstStyle/>
        <a:p>
          <a:endParaRPr lang="en-US"/>
        </a:p>
      </dgm:t>
    </dgm:pt>
    <dgm:pt modelId="{B1D24EC1-9CD0-4748-8006-955A35FB2E58}" type="sibTrans" cxnId="{B2F7FEB3-C28E-4441-9D37-E1CB44460469}">
      <dgm:prSet/>
      <dgm:spPr/>
      <dgm:t>
        <a:bodyPr/>
        <a:lstStyle/>
        <a:p>
          <a:endParaRPr lang="en-US"/>
        </a:p>
      </dgm:t>
    </dgm:pt>
    <dgm:pt modelId="{6E24A15D-F63C-4531-860B-14290C56BB0E}">
      <dgm:prSet/>
      <dgm:spPr>
        <a:solidFill>
          <a:srgbClr val="C00000"/>
        </a:solidFill>
      </dgm:spPr>
      <dgm:t>
        <a:bodyPr/>
        <a:lstStyle/>
        <a:p>
          <a:r>
            <a:rPr lang="ru-RU" b="1" dirty="0"/>
            <a:t>Октябрь: политические переговоры</a:t>
          </a:r>
          <a:endParaRPr lang="de-DE" dirty="0"/>
        </a:p>
      </dgm:t>
    </dgm:pt>
    <dgm:pt modelId="{743D9A0A-8683-450D-88C6-B22A51E9BFBA}" type="parTrans" cxnId="{92BD0752-8F13-4364-AA1E-7BA0F94B5DD7}">
      <dgm:prSet/>
      <dgm:spPr/>
      <dgm:t>
        <a:bodyPr/>
        <a:lstStyle/>
        <a:p>
          <a:endParaRPr lang="en-US"/>
        </a:p>
      </dgm:t>
    </dgm:pt>
    <dgm:pt modelId="{CF146798-FD94-4CFB-A30E-1774AD8CA427}" type="sibTrans" cxnId="{92BD0752-8F13-4364-AA1E-7BA0F94B5DD7}">
      <dgm:prSet/>
      <dgm:spPr/>
      <dgm:t>
        <a:bodyPr/>
        <a:lstStyle/>
        <a:p>
          <a:endParaRPr lang="en-US"/>
        </a:p>
      </dgm:t>
    </dgm:pt>
    <dgm:pt modelId="{58E30A14-CAC7-4180-A85D-C117EE63D850}">
      <dgm:prSet/>
      <dgm:spPr>
        <a:solidFill>
          <a:srgbClr val="93D3FF"/>
        </a:solidFill>
        <a:ln>
          <a:solidFill>
            <a:schemeClr val="bg1"/>
          </a:solidFill>
        </a:ln>
      </dgm:spPr>
      <dgm:t>
        <a:bodyPr/>
        <a:lstStyle/>
        <a:p>
          <a:r>
            <a:rPr lang="ru-RU" b="1" dirty="0">
              <a:solidFill>
                <a:srgbClr val="00558F"/>
              </a:solidFill>
            </a:rPr>
            <a:t>Декабрь: принятие бюджета</a:t>
          </a:r>
          <a:endParaRPr lang="en-US" dirty="0">
            <a:solidFill>
              <a:srgbClr val="00558F"/>
            </a:solidFill>
          </a:endParaRPr>
        </a:p>
      </dgm:t>
    </dgm:pt>
    <dgm:pt modelId="{B6013D66-4E4D-4472-AFD7-25C3B9966AF0}" type="parTrans" cxnId="{229D4D13-CCB2-48A3-A2F0-862D8DCE63F3}">
      <dgm:prSet/>
      <dgm:spPr/>
      <dgm:t>
        <a:bodyPr/>
        <a:lstStyle/>
        <a:p>
          <a:endParaRPr lang="en-US"/>
        </a:p>
      </dgm:t>
    </dgm:pt>
    <dgm:pt modelId="{11322F01-C7C6-477E-A633-BA9F8F657BD5}" type="sibTrans" cxnId="{229D4D13-CCB2-48A3-A2F0-862D8DCE63F3}">
      <dgm:prSet/>
      <dgm:spPr/>
      <dgm:t>
        <a:bodyPr/>
        <a:lstStyle/>
        <a:p>
          <a:endParaRPr lang="en-US"/>
        </a:p>
      </dgm:t>
    </dgm:pt>
    <dgm:pt modelId="{F17FF75B-5A8F-486B-82F6-BE87341F59DD}" type="pres">
      <dgm:prSet presAssocID="{EFD97A38-B301-494E-825D-3863E5E4F0F3}" presName="CompostProcess" presStyleCnt="0">
        <dgm:presLayoutVars>
          <dgm:dir/>
          <dgm:resizeHandles val="exact"/>
        </dgm:presLayoutVars>
      </dgm:prSet>
      <dgm:spPr/>
    </dgm:pt>
    <dgm:pt modelId="{645DCC33-C190-4AE9-8F8B-6AA5A8EBB1D1}" type="pres">
      <dgm:prSet presAssocID="{EFD97A38-B301-494E-825D-3863E5E4F0F3}" presName="arrow" presStyleLbl="bgShp" presStyleIdx="0" presStyleCnt="1"/>
      <dgm:spPr>
        <a:solidFill>
          <a:srgbClr val="93D3FF"/>
        </a:solidFill>
        <a:ln>
          <a:solidFill>
            <a:srgbClr val="93D3FF"/>
          </a:solidFill>
        </a:ln>
      </dgm:spPr>
    </dgm:pt>
    <dgm:pt modelId="{1CC710CE-8CA2-4B92-830D-63D3E769D9B4}" type="pres">
      <dgm:prSet presAssocID="{EFD97A38-B301-494E-825D-3863E5E4F0F3}" presName="linearProcess" presStyleCnt="0"/>
      <dgm:spPr/>
    </dgm:pt>
    <dgm:pt modelId="{E3E06929-6B8F-452F-B953-E260BC25651C}" type="pres">
      <dgm:prSet presAssocID="{26938EAE-70BC-415C-9B85-8894FA7929A2}" presName="textNode" presStyleLbl="node1" presStyleIdx="0" presStyleCnt="6">
        <dgm:presLayoutVars>
          <dgm:bulletEnabled val="1"/>
        </dgm:presLayoutVars>
      </dgm:prSet>
      <dgm:spPr/>
    </dgm:pt>
    <dgm:pt modelId="{FD025FB5-04CC-44DB-9DB0-6FEAF2006245}" type="pres">
      <dgm:prSet presAssocID="{4D420401-6067-4A83-8A4E-111528D8FE36}" presName="sibTrans" presStyleCnt="0"/>
      <dgm:spPr/>
    </dgm:pt>
    <dgm:pt modelId="{388F4348-1542-41AA-9663-2F1B2FA1EA2E}" type="pres">
      <dgm:prSet presAssocID="{12DB52B0-9CDA-444F-9D6C-B42CCC2D351A}" presName="textNode" presStyleLbl="node1" presStyleIdx="1" presStyleCnt="6">
        <dgm:presLayoutVars>
          <dgm:bulletEnabled val="1"/>
        </dgm:presLayoutVars>
      </dgm:prSet>
      <dgm:spPr/>
    </dgm:pt>
    <dgm:pt modelId="{0B8937A3-0802-4BFC-9836-D0C924BF55EC}" type="pres">
      <dgm:prSet presAssocID="{196D538D-01E1-454C-B78B-F9F75C5B3F52}" presName="sibTrans" presStyleCnt="0"/>
      <dgm:spPr/>
    </dgm:pt>
    <dgm:pt modelId="{03418BA3-81CD-4AE0-8874-07D2A876725B}" type="pres">
      <dgm:prSet presAssocID="{6ED27E43-A3BF-45C4-B909-C42EA8549BE9}" presName="textNode" presStyleLbl="node1" presStyleIdx="2" presStyleCnt="6">
        <dgm:presLayoutVars>
          <dgm:bulletEnabled val="1"/>
        </dgm:presLayoutVars>
      </dgm:prSet>
      <dgm:spPr/>
    </dgm:pt>
    <dgm:pt modelId="{A385376D-F8E5-46B7-BFFF-91AAC1011150}" type="pres">
      <dgm:prSet presAssocID="{4C67984E-CE3B-4D36-805D-E65999F83C58}" presName="sibTrans" presStyleCnt="0"/>
      <dgm:spPr/>
    </dgm:pt>
    <dgm:pt modelId="{28A8A43B-552A-4D63-9B7F-25EB004A645C}" type="pres">
      <dgm:prSet presAssocID="{C0435405-93F5-4177-AE9B-375CB646C1DF}" presName="textNode" presStyleLbl="node1" presStyleIdx="3" presStyleCnt="6" custLinFactNeighborX="-59" custLinFactNeighborY="304">
        <dgm:presLayoutVars>
          <dgm:bulletEnabled val="1"/>
        </dgm:presLayoutVars>
      </dgm:prSet>
      <dgm:spPr/>
    </dgm:pt>
    <dgm:pt modelId="{6A5CF220-BA75-4FE8-AD02-B7E93C30DD7E}" type="pres">
      <dgm:prSet presAssocID="{B1D24EC1-9CD0-4748-8006-955A35FB2E58}" presName="sibTrans" presStyleCnt="0"/>
      <dgm:spPr/>
    </dgm:pt>
    <dgm:pt modelId="{BDA558FA-BB1B-48DC-AED4-52965E889A4F}" type="pres">
      <dgm:prSet presAssocID="{6E24A15D-F63C-4531-860B-14290C56BB0E}" presName="textNode" presStyleLbl="node1" presStyleIdx="4" presStyleCnt="6">
        <dgm:presLayoutVars>
          <dgm:bulletEnabled val="1"/>
        </dgm:presLayoutVars>
      </dgm:prSet>
      <dgm:spPr/>
    </dgm:pt>
    <dgm:pt modelId="{C6F36C53-313D-4CEB-92C5-9DE35C1151E9}" type="pres">
      <dgm:prSet presAssocID="{CF146798-FD94-4CFB-A30E-1774AD8CA427}" presName="sibTrans" presStyleCnt="0"/>
      <dgm:spPr/>
    </dgm:pt>
    <dgm:pt modelId="{B19CE146-13CB-4AC8-9254-1D85981A41FD}" type="pres">
      <dgm:prSet presAssocID="{58E30A14-CAC7-4180-A85D-C117EE63D850}" presName="textNode" presStyleLbl="node1" presStyleIdx="5" presStyleCnt="6">
        <dgm:presLayoutVars>
          <dgm:bulletEnabled val="1"/>
        </dgm:presLayoutVars>
      </dgm:prSet>
      <dgm:spPr/>
    </dgm:pt>
  </dgm:ptLst>
  <dgm:cxnLst>
    <dgm:cxn modelId="{D506A10B-6FF0-4A40-8E1D-7912B0169CA7}" type="presOf" srcId="{26938EAE-70BC-415C-9B85-8894FA7929A2}" destId="{E3E06929-6B8F-452F-B953-E260BC25651C}" srcOrd="0" destOrd="0" presId="urn:microsoft.com/office/officeart/2005/8/layout/hProcess9"/>
    <dgm:cxn modelId="{229D4D13-CCB2-48A3-A2F0-862D8DCE63F3}" srcId="{EFD97A38-B301-494E-825D-3863E5E4F0F3}" destId="{58E30A14-CAC7-4180-A85D-C117EE63D850}" srcOrd="5" destOrd="0" parTransId="{B6013D66-4E4D-4472-AFD7-25C3B9966AF0}" sibTransId="{11322F01-C7C6-477E-A633-BA9F8F657BD5}"/>
    <dgm:cxn modelId="{4C2A835C-7170-41C4-8A63-E3F4A9CDAF55}" srcId="{EFD97A38-B301-494E-825D-3863E5E4F0F3}" destId="{6ED27E43-A3BF-45C4-B909-C42EA8549BE9}" srcOrd="2" destOrd="0" parTransId="{019A5C0B-CB21-471E-85A8-4C67F17DADA0}" sibTransId="{4C67984E-CE3B-4D36-805D-E65999F83C58}"/>
    <dgm:cxn modelId="{92BD0752-8F13-4364-AA1E-7BA0F94B5DD7}" srcId="{EFD97A38-B301-494E-825D-3863E5E4F0F3}" destId="{6E24A15D-F63C-4531-860B-14290C56BB0E}" srcOrd="4" destOrd="0" parTransId="{743D9A0A-8683-450D-88C6-B22A51E9BFBA}" sibTransId="{CF146798-FD94-4CFB-A30E-1774AD8CA427}"/>
    <dgm:cxn modelId="{DC171073-ED3B-4BAB-B614-2B6CCF613F03}" type="presOf" srcId="{12DB52B0-9CDA-444F-9D6C-B42CCC2D351A}" destId="{388F4348-1542-41AA-9663-2F1B2FA1EA2E}" srcOrd="0" destOrd="0" presId="urn:microsoft.com/office/officeart/2005/8/layout/hProcess9"/>
    <dgm:cxn modelId="{26E61A79-35F4-4886-83E0-4898AB8613D6}" type="presOf" srcId="{58E30A14-CAC7-4180-A85D-C117EE63D850}" destId="{B19CE146-13CB-4AC8-9254-1D85981A41FD}" srcOrd="0" destOrd="0" presId="urn:microsoft.com/office/officeart/2005/8/layout/hProcess9"/>
    <dgm:cxn modelId="{44C6D27D-01B8-42C3-8B9D-39E19956C4CD}" type="presOf" srcId="{C0435405-93F5-4177-AE9B-375CB646C1DF}" destId="{28A8A43B-552A-4D63-9B7F-25EB004A645C}" srcOrd="0" destOrd="0" presId="urn:microsoft.com/office/officeart/2005/8/layout/hProcess9"/>
    <dgm:cxn modelId="{66ED8A9B-7065-40E7-9DAE-6C1C7D835C8D}" type="presOf" srcId="{EFD97A38-B301-494E-825D-3863E5E4F0F3}" destId="{F17FF75B-5A8F-486B-82F6-BE87341F59DD}" srcOrd="0" destOrd="0" presId="urn:microsoft.com/office/officeart/2005/8/layout/hProcess9"/>
    <dgm:cxn modelId="{CB8B56A8-F645-4032-A3F3-31D848C53493}" srcId="{EFD97A38-B301-494E-825D-3863E5E4F0F3}" destId="{12DB52B0-9CDA-444F-9D6C-B42CCC2D351A}" srcOrd="1" destOrd="0" parTransId="{AF75FAF1-7D2C-4C64-B905-C71542AF20B6}" sibTransId="{196D538D-01E1-454C-B78B-F9F75C5B3F52}"/>
    <dgm:cxn modelId="{B2F7FEB3-C28E-4441-9D37-E1CB44460469}" srcId="{EFD97A38-B301-494E-825D-3863E5E4F0F3}" destId="{C0435405-93F5-4177-AE9B-375CB646C1DF}" srcOrd="3" destOrd="0" parTransId="{B632E99B-A646-4101-AB71-544206B0F7BF}" sibTransId="{B1D24EC1-9CD0-4748-8006-955A35FB2E58}"/>
    <dgm:cxn modelId="{1A1C4EE8-1C5D-4B55-BF9D-B071751BBEAA}" type="presOf" srcId="{6ED27E43-A3BF-45C4-B909-C42EA8549BE9}" destId="{03418BA3-81CD-4AE0-8874-07D2A876725B}" srcOrd="0" destOrd="0" presId="urn:microsoft.com/office/officeart/2005/8/layout/hProcess9"/>
    <dgm:cxn modelId="{CB9468F7-512E-4706-82EA-54922457E318}" type="presOf" srcId="{6E24A15D-F63C-4531-860B-14290C56BB0E}" destId="{BDA558FA-BB1B-48DC-AED4-52965E889A4F}" srcOrd="0" destOrd="0" presId="urn:microsoft.com/office/officeart/2005/8/layout/hProcess9"/>
    <dgm:cxn modelId="{B97E51F8-0BB6-4C32-942A-EAD3B0F09D74}" srcId="{EFD97A38-B301-494E-825D-3863E5E4F0F3}" destId="{26938EAE-70BC-415C-9B85-8894FA7929A2}" srcOrd="0" destOrd="0" parTransId="{EF8A03D2-4D05-4712-A269-3349475AF6D4}" sibTransId="{4D420401-6067-4A83-8A4E-111528D8FE36}"/>
    <dgm:cxn modelId="{F6341D5B-8399-4F51-990E-8F3CD51B4ECF}" type="presParOf" srcId="{F17FF75B-5A8F-486B-82F6-BE87341F59DD}" destId="{645DCC33-C190-4AE9-8F8B-6AA5A8EBB1D1}" srcOrd="0" destOrd="0" presId="urn:microsoft.com/office/officeart/2005/8/layout/hProcess9"/>
    <dgm:cxn modelId="{5F97BD3B-4EEB-4FDB-9F32-4A2ABA772177}" type="presParOf" srcId="{F17FF75B-5A8F-486B-82F6-BE87341F59DD}" destId="{1CC710CE-8CA2-4B92-830D-63D3E769D9B4}" srcOrd="1" destOrd="0" presId="urn:microsoft.com/office/officeart/2005/8/layout/hProcess9"/>
    <dgm:cxn modelId="{47F71DF4-81F1-4EAA-8F27-9E6F10EFA19B}" type="presParOf" srcId="{1CC710CE-8CA2-4B92-830D-63D3E769D9B4}" destId="{E3E06929-6B8F-452F-B953-E260BC25651C}" srcOrd="0" destOrd="0" presId="urn:microsoft.com/office/officeart/2005/8/layout/hProcess9"/>
    <dgm:cxn modelId="{A8AEFF02-ADD2-42D8-87EF-D33DA630BD49}" type="presParOf" srcId="{1CC710CE-8CA2-4B92-830D-63D3E769D9B4}" destId="{FD025FB5-04CC-44DB-9DB0-6FEAF2006245}" srcOrd="1" destOrd="0" presId="urn:microsoft.com/office/officeart/2005/8/layout/hProcess9"/>
    <dgm:cxn modelId="{416E3DB9-8C09-4404-8A69-0B45B323D0E8}" type="presParOf" srcId="{1CC710CE-8CA2-4B92-830D-63D3E769D9B4}" destId="{388F4348-1542-41AA-9663-2F1B2FA1EA2E}" srcOrd="2" destOrd="0" presId="urn:microsoft.com/office/officeart/2005/8/layout/hProcess9"/>
    <dgm:cxn modelId="{43BC5535-63AD-4FBA-A928-B8ACD480DA3D}" type="presParOf" srcId="{1CC710CE-8CA2-4B92-830D-63D3E769D9B4}" destId="{0B8937A3-0802-4BFC-9836-D0C924BF55EC}" srcOrd="3" destOrd="0" presId="urn:microsoft.com/office/officeart/2005/8/layout/hProcess9"/>
    <dgm:cxn modelId="{37DAE5CF-DF5F-45CE-A6E8-A53ABDF265A2}" type="presParOf" srcId="{1CC710CE-8CA2-4B92-830D-63D3E769D9B4}" destId="{03418BA3-81CD-4AE0-8874-07D2A876725B}" srcOrd="4" destOrd="0" presId="urn:microsoft.com/office/officeart/2005/8/layout/hProcess9"/>
    <dgm:cxn modelId="{A80A3B69-BCAB-4785-9E63-A6068A1284D4}" type="presParOf" srcId="{1CC710CE-8CA2-4B92-830D-63D3E769D9B4}" destId="{A385376D-F8E5-46B7-BFFF-91AAC1011150}" srcOrd="5" destOrd="0" presId="urn:microsoft.com/office/officeart/2005/8/layout/hProcess9"/>
    <dgm:cxn modelId="{F43B4C9B-7ADF-4777-AEE8-B1A725DAA659}" type="presParOf" srcId="{1CC710CE-8CA2-4B92-830D-63D3E769D9B4}" destId="{28A8A43B-552A-4D63-9B7F-25EB004A645C}" srcOrd="6" destOrd="0" presId="urn:microsoft.com/office/officeart/2005/8/layout/hProcess9"/>
    <dgm:cxn modelId="{F8ED195B-B4EA-46BF-B29E-088D492D9116}" type="presParOf" srcId="{1CC710CE-8CA2-4B92-830D-63D3E769D9B4}" destId="{6A5CF220-BA75-4FE8-AD02-B7E93C30DD7E}" srcOrd="7" destOrd="0" presId="urn:microsoft.com/office/officeart/2005/8/layout/hProcess9"/>
    <dgm:cxn modelId="{E7A75DB2-ECA9-4558-90E1-165AA7BCAFCE}" type="presParOf" srcId="{1CC710CE-8CA2-4B92-830D-63D3E769D9B4}" destId="{BDA558FA-BB1B-48DC-AED4-52965E889A4F}" srcOrd="8" destOrd="0" presId="urn:microsoft.com/office/officeart/2005/8/layout/hProcess9"/>
    <dgm:cxn modelId="{3FEBA539-73B4-4999-9E40-314F932321D5}" type="presParOf" srcId="{1CC710CE-8CA2-4B92-830D-63D3E769D9B4}" destId="{C6F36C53-313D-4CEB-92C5-9DE35C1151E9}" srcOrd="9" destOrd="0" presId="urn:microsoft.com/office/officeart/2005/8/layout/hProcess9"/>
    <dgm:cxn modelId="{0E234205-9041-44E2-BFAE-0912794CF34C}" type="presParOf" srcId="{1CC710CE-8CA2-4B92-830D-63D3E769D9B4}" destId="{B19CE146-13CB-4AC8-9254-1D85981A41FD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58BC25-97C1-48EE-86CE-59FF68253E39}">
      <dsp:nvSpPr>
        <dsp:cNvPr id="0" name=""/>
        <dsp:cNvSpPr/>
      </dsp:nvSpPr>
      <dsp:spPr>
        <a:xfrm>
          <a:off x="731129" y="-6"/>
          <a:ext cx="5698478" cy="5568517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7692BE-8F41-40E1-9BDD-3F4103A881BD}">
      <dsp:nvSpPr>
        <dsp:cNvPr id="0" name=""/>
        <dsp:cNvSpPr/>
      </dsp:nvSpPr>
      <dsp:spPr>
        <a:xfrm>
          <a:off x="1159432" y="4332848"/>
          <a:ext cx="174469" cy="17446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B179CEB-CC2C-4954-8CEE-4E1F74E7E39D}">
      <dsp:nvSpPr>
        <dsp:cNvPr id="0" name=""/>
        <dsp:cNvSpPr/>
      </dsp:nvSpPr>
      <dsp:spPr>
        <a:xfrm>
          <a:off x="982065" y="4632109"/>
          <a:ext cx="2507416" cy="9363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48" tIns="0" rIns="0" bIns="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b="1" kern="1200" dirty="0"/>
        </a:p>
      </dsp:txBody>
      <dsp:txXfrm>
        <a:off x="982065" y="4632109"/>
        <a:ext cx="2507416" cy="936394"/>
      </dsp:txXfrm>
    </dsp:sp>
    <dsp:sp modelId="{F025F0DF-AD06-4631-8352-552F0D527DF9}">
      <dsp:nvSpPr>
        <dsp:cNvPr id="0" name=""/>
        <dsp:cNvSpPr/>
      </dsp:nvSpPr>
      <dsp:spPr>
        <a:xfrm>
          <a:off x="1609072" y="3439291"/>
          <a:ext cx="303425" cy="30342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0BB15EC-55A0-44E2-9E7D-62B36BE1AF16}">
      <dsp:nvSpPr>
        <dsp:cNvPr id="0" name=""/>
        <dsp:cNvSpPr/>
      </dsp:nvSpPr>
      <dsp:spPr>
        <a:xfrm>
          <a:off x="1629495" y="3536808"/>
          <a:ext cx="4142264" cy="13181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0779" tIns="0" rIns="0" bIns="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b="1" kern="1200" dirty="0"/>
        </a:p>
      </dsp:txBody>
      <dsp:txXfrm>
        <a:off x="1629495" y="3536808"/>
        <a:ext cx="4142264" cy="1318165"/>
      </dsp:txXfrm>
    </dsp:sp>
    <dsp:sp modelId="{E589B116-E38B-4316-B7CC-A0A6D5459806}">
      <dsp:nvSpPr>
        <dsp:cNvPr id="0" name=""/>
        <dsp:cNvSpPr/>
      </dsp:nvSpPr>
      <dsp:spPr>
        <a:xfrm>
          <a:off x="2463678" y="2460426"/>
          <a:ext cx="402038" cy="40203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E942A9C-2201-43E0-BF6B-4EF7A704DE74}">
      <dsp:nvSpPr>
        <dsp:cNvPr id="0" name=""/>
        <dsp:cNvSpPr/>
      </dsp:nvSpPr>
      <dsp:spPr>
        <a:xfrm>
          <a:off x="2975571" y="2639868"/>
          <a:ext cx="4610060" cy="9234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032" tIns="0" rIns="0" bIns="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b="1" kern="1200" dirty="0"/>
        </a:p>
      </dsp:txBody>
      <dsp:txXfrm>
        <a:off x="2975571" y="2639868"/>
        <a:ext cx="4610060" cy="923403"/>
      </dsp:txXfrm>
    </dsp:sp>
    <dsp:sp modelId="{2B9383D3-B589-4334-A6CE-A07BDC184BB8}">
      <dsp:nvSpPr>
        <dsp:cNvPr id="0" name=""/>
        <dsp:cNvSpPr/>
      </dsp:nvSpPr>
      <dsp:spPr>
        <a:xfrm>
          <a:off x="3936626" y="1441038"/>
          <a:ext cx="538579" cy="53857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C56BD2-9317-402B-B207-F0B58112E7B6}">
      <dsp:nvSpPr>
        <dsp:cNvPr id="0" name=""/>
        <dsp:cNvSpPr/>
      </dsp:nvSpPr>
      <dsp:spPr>
        <a:xfrm>
          <a:off x="4691150" y="1449444"/>
          <a:ext cx="2894481" cy="11393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382" tIns="0" rIns="0" bIns="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/>
        </a:p>
      </dsp:txBody>
      <dsp:txXfrm>
        <a:off x="4691150" y="1449444"/>
        <a:ext cx="2894481" cy="113938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7E18A6-1B5E-3A42-B7C0-F8BC2F0C6E95}">
      <dsp:nvSpPr>
        <dsp:cNvPr id="0" name=""/>
        <dsp:cNvSpPr/>
      </dsp:nvSpPr>
      <dsp:spPr>
        <a:xfrm>
          <a:off x="5602222" y="2397866"/>
          <a:ext cx="2930725" cy="2930725"/>
        </a:xfrm>
        <a:prstGeom prst="gear9">
          <a:avLst/>
        </a:prstGeom>
        <a:solidFill>
          <a:srgbClr val="00558F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>
              <a:latin typeface="Arial"/>
              <a:cs typeface="Arial"/>
            </a:rPr>
            <a:t>Лица, принимающие решения</a:t>
          </a:r>
          <a:endParaRPr lang="en-GB" sz="2500" kern="1200" dirty="0">
            <a:latin typeface="Arial"/>
            <a:cs typeface="Arial"/>
          </a:endParaRPr>
        </a:p>
      </dsp:txBody>
      <dsp:txXfrm>
        <a:off x="6191428" y="3084374"/>
        <a:ext cx="1752313" cy="1506454"/>
      </dsp:txXfrm>
    </dsp:sp>
    <dsp:sp modelId="{9155E736-C838-2C4A-B5A7-1AB881A6881B}">
      <dsp:nvSpPr>
        <dsp:cNvPr id="0" name=""/>
        <dsp:cNvSpPr/>
      </dsp:nvSpPr>
      <dsp:spPr>
        <a:xfrm>
          <a:off x="3643986" y="1511902"/>
          <a:ext cx="2637610" cy="2517930"/>
        </a:xfrm>
        <a:prstGeom prst="gear6">
          <a:avLst/>
        </a:prstGeom>
        <a:solidFill>
          <a:srgbClr val="0055BD"/>
        </a:solidFill>
        <a:ln>
          <a:solidFill>
            <a:srgbClr val="0055BD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Arial"/>
              <a:cs typeface="Arial"/>
            </a:rPr>
            <a:t>Те, кто имеет влияние на лиц, принимающих решения</a:t>
          </a:r>
          <a:endParaRPr lang="en-GB" sz="1800" kern="1200" dirty="0">
            <a:latin typeface="Arial"/>
            <a:cs typeface="Arial"/>
          </a:endParaRPr>
        </a:p>
      </dsp:txBody>
      <dsp:txXfrm>
        <a:off x="4295279" y="2149630"/>
        <a:ext cx="1335024" cy="1242474"/>
      </dsp:txXfrm>
    </dsp:sp>
    <dsp:sp modelId="{89BF9DA7-C778-0445-9F4C-9B68FCB4FA45}">
      <dsp:nvSpPr>
        <dsp:cNvPr id="0" name=""/>
        <dsp:cNvSpPr/>
      </dsp:nvSpPr>
      <dsp:spPr>
        <a:xfrm rot="20700000">
          <a:off x="5036440" y="255318"/>
          <a:ext cx="2242451" cy="2047087"/>
        </a:xfrm>
        <a:prstGeom prst="gear6">
          <a:avLst/>
        </a:prstGeom>
        <a:solidFill>
          <a:srgbClr val="5E8299"/>
        </a:solidFill>
        <a:ln>
          <a:solidFill>
            <a:srgbClr val="5E8299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>
              <a:latin typeface="Arial"/>
              <a:cs typeface="Arial"/>
            </a:rPr>
            <a:t>Ваши потенциальные партнеры</a:t>
          </a:r>
          <a:endParaRPr lang="en-GB" sz="2000" kern="1200" dirty="0">
            <a:latin typeface="Arial"/>
            <a:cs typeface="Arial"/>
          </a:endParaRPr>
        </a:p>
      </dsp:txBody>
      <dsp:txXfrm rot="-20700000">
        <a:off x="5539863" y="692716"/>
        <a:ext cx="1235605" cy="1172290"/>
      </dsp:txXfrm>
    </dsp:sp>
    <dsp:sp modelId="{2B7714BA-075C-D541-BD02-55C2AFD42A2F}">
      <dsp:nvSpPr>
        <dsp:cNvPr id="0" name=""/>
        <dsp:cNvSpPr/>
      </dsp:nvSpPr>
      <dsp:spPr>
        <a:xfrm>
          <a:off x="5389521" y="1948392"/>
          <a:ext cx="3751328" cy="3751328"/>
        </a:xfrm>
        <a:prstGeom prst="circularArrow">
          <a:avLst>
            <a:gd name="adj1" fmla="val 4687"/>
            <a:gd name="adj2" fmla="val 299029"/>
            <a:gd name="adj3" fmla="val 2537923"/>
            <a:gd name="adj4" fmla="val 15815179"/>
            <a:gd name="adj5" fmla="val 5469"/>
          </a:avLst>
        </a:prstGeom>
        <a:solidFill>
          <a:srgbClr val="93D3FF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5A6B9AF-A9B3-604E-AD19-F9B186926519}">
      <dsp:nvSpPr>
        <dsp:cNvPr id="0" name=""/>
        <dsp:cNvSpPr/>
      </dsp:nvSpPr>
      <dsp:spPr>
        <a:xfrm>
          <a:off x="3519599" y="1228675"/>
          <a:ext cx="2725574" cy="272557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C0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554E13A-13F7-694A-8205-6455217EAD4D}">
      <dsp:nvSpPr>
        <dsp:cNvPr id="0" name=""/>
        <dsp:cNvSpPr/>
      </dsp:nvSpPr>
      <dsp:spPr>
        <a:xfrm>
          <a:off x="4607832" y="-227624"/>
          <a:ext cx="2938718" cy="2938718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41A2AA"/>
        </a:solidFill>
        <a:ln>
          <a:solidFill>
            <a:srgbClr val="41A2AA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908D05-2899-4609-B723-5A03052FA911}">
      <dsp:nvSpPr>
        <dsp:cNvPr id="0" name=""/>
        <dsp:cNvSpPr/>
      </dsp:nvSpPr>
      <dsp:spPr>
        <a:xfrm>
          <a:off x="0" y="0"/>
          <a:ext cx="8229600" cy="984546"/>
        </a:xfrm>
        <a:prstGeom prst="roundRect">
          <a:avLst>
            <a:gd name="adj" fmla="val 10000"/>
          </a:avLst>
        </a:prstGeom>
        <a:solidFill>
          <a:srgbClr val="00558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kern="1200" dirty="0">
              <a:solidFill>
                <a:schemeClr val="bg1"/>
              </a:solidFill>
            </a:rPr>
            <a:t>Ограниченные ресурсы</a:t>
          </a:r>
          <a:endParaRPr lang="en-US" sz="2700" kern="1200" dirty="0">
            <a:solidFill>
              <a:schemeClr val="bg1"/>
            </a:solidFill>
          </a:endParaRPr>
        </a:p>
      </dsp:txBody>
      <dsp:txXfrm>
        <a:off x="1744374" y="0"/>
        <a:ext cx="6485225" cy="984546"/>
      </dsp:txXfrm>
    </dsp:sp>
    <dsp:sp modelId="{18C0AF7B-BDDF-4FCD-AAD3-8B11853929EC}">
      <dsp:nvSpPr>
        <dsp:cNvPr id="0" name=""/>
        <dsp:cNvSpPr/>
      </dsp:nvSpPr>
      <dsp:spPr>
        <a:xfrm>
          <a:off x="98454" y="98454"/>
          <a:ext cx="1645920" cy="78763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04199D-E50E-499D-95D1-DE0E30E59962}">
      <dsp:nvSpPr>
        <dsp:cNvPr id="0" name=""/>
        <dsp:cNvSpPr/>
      </dsp:nvSpPr>
      <dsp:spPr>
        <a:xfrm>
          <a:off x="0" y="1083000"/>
          <a:ext cx="8229600" cy="984546"/>
        </a:xfrm>
        <a:prstGeom prst="roundRect">
          <a:avLst>
            <a:gd name="adj" fmla="val 10000"/>
          </a:avLst>
        </a:prstGeom>
        <a:solidFill>
          <a:srgbClr val="00558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kern="1200" dirty="0">
              <a:solidFill>
                <a:schemeClr val="bg1"/>
              </a:solidFill>
            </a:rPr>
            <a:t>Множество аналогичных запросов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1744374" y="1083000"/>
        <a:ext cx="6485225" cy="984546"/>
      </dsp:txXfrm>
    </dsp:sp>
    <dsp:sp modelId="{8A9BEA6E-B15A-4B23-99A3-A2EE5EAABE5A}">
      <dsp:nvSpPr>
        <dsp:cNvPr id="0" name=""/>
        <dsp:cNvSpPr/>
      </dsp:nvSpPr>
      <dsp:spPr>
        <a:xfrm>
          <a:off x="98454" y="1181455"/>
          <a:ext cx="1645920" cy="78763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CF2F29-D825-476C-910B-749E339B5FFF}">
      <dsp:nvSpPr>
        <dsp:cNvPr id="0" name=""/>
        <dsp:cNvSpPr/>
      </dsp:nvSpPr>
      <dsp:spPr>
        <a:xfrm>
          <a:off x="0" y="2166001"/>
          <a:ext cx="8229600" cy="984546"/>
        </a:xfrm>
        <a:prstGeom prst="roundRect">
          <a:avLst>
            <a:gd name="adj" fmla="val 10000"/>
          </a:avLst>
        </a:prstGeom>
        <a:solidFill>
          <a:srgbClr val="00558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kern="1200" dirty="0">
              <a:solidFill>
                <a:schemeClr val="bg1"/>
              </a:solidFill>
            </a:rPr>
            <a:t>Другие более актуальные проблемы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1744374" y="2166001"/>
        <a:ext cx="6485225" cy="984546"/>
      </dsp:txXfrm>
    </dsp:sp>
    <dsp:sp modelId="{D23D948F-2F36-4EB7-AB63-A7C74A2ACDF2}">
      <dsp:nvSpPr>
        <dsp:cNvPr id="0" name=""/>
        <dsp:cNvSpPr/>
      </dsp:nvSpPr>
      <dsp:spPr>
        <a:xfrm>
          <a:off x="98454" y="2264455"/>
          <a:ext cx="1645920" cy="78763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DC6C0E-C276-45A5-8F35-7AF536574BC8}">
      <dsp:nvSpPr>
        <dsp:cNvPr id="0" name=""/>
        <dsp:cNvSpPr/>
      </dsp:nvSpPr>
      <dsp:spPr>
        <a:xfrm>
          <a:off x="0" y="3249001"/>
          <a:ext cx="8229600" cy="984546"/>
        </a:xfrm>
        <a:prstGeom prst="roundRect">
          <a:avLst>
            <a:gd name="adj" fmla="val 10000"/>
          </a:avLst>
        </a:prstGeom>
        <a:solidFill>
          <a:srgbClr val="00558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kern="1200" dirty="0">
              <a:solidFill>
                <a:schemeClr val="bg1"/>
              </a:solidFill>
            </a:rPr>
            <a:t>Часто фокус на краткосрочные результаты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1744374" y="3249001"/>
        <a:ext cx="6485225" cy="984546"/>
      </dsp:txXfrm>
    </dsp:sp>
    <dsp:sp modelId="{B2836E6E-C799-44CE-9183-06228DFA2883}">
      <dsp:nvSpPr>
        <dsp:cNvPr id="0" name=""/>
        <dsp:cNvSpPr/>
      </dsp:nvSpPr>
      <dsp:spPr>
        <a:xfrm>
          <a:off x="98454" y="3347456"/>
          <a:ext cx="1645920" cy="78763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09BA14-F9AE-4209-836C-AC205998326E}">
      <dsp:nvSpPr>
        <dsp:cNvPr id="0" name=""/>
        <dsp:cNvSpPr/>
      </dsp:nvSpPr>
      <dsp:spPr>
        <a:xfrm>
          <a:off x="-4965595" y="-760849"/>
          <a:ext cx="5913845" cy="5913845"/>
        </a:xfrm>
        <a:prstGeom prst="blockArc">
          <a:avLst>
            <a:gd name="adj1" fmla="val 18900000"/>
            <a:gd name="adj2" fmla="val 2700000"/>
            <a:gd name="adj3" fmla="val 365"/>
          </a:avLst>
        </a:prstGeom>
        <a:noFill/>
        <a:ln w="25400" cap="flat" cmpd="sng" algn="ctr">
          <a:solidFill>
            <a:srgbClr val="00558F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196B8A-3A73-48C6-B98D-B34FB4D2CB4A}">
      <dsp:nvSpPr>
        <dsp:cNvPr id="0" name=""/>
        <dsp:cNvSpPr/>
      </dsp:nvSpPr>
      <dsp:spPr>
        <a:xfrm>
          <a:off x="609872" y="439214"/>
          <a:ext cx="7559358" cy="878429"/>
        </a:xfrm>
        <a:prstGeom prst="rect">
          <a:avLst/>
        </a:prstGeom>
        <a:solidFill>
          <a:srgbClr val="5E829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7253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kern="1200" dirty="0"/>
            <a:t>Технически сложной темой</a:t>
          </a:r>
          <a:endParaRPr lang="en-US" sz="2200" kern="1200" dirty="0"/>
        </a:p>
      </dsp:txBody>
      <dsp:txXfrm>
        <a:off x="609872" y="439214"/>
        <a:ext cx="7559358" cy="878429"/>
      </dsp:txXfrm>
    </dsp:sp>
    <dsp:sp modelId="{0D626F28-373F-4398-92DD-2A24B0DEE044}">
      <dsp:nvSpPr>
        <dsp:cNvPr id="0" name=""/>
        <dsp:cNvSpPr/>
      </dsp:nvSpPr>
      <dsp:spPr>
        <a:xfrm>
          <a:off x="60853" y="329411"/>
          <a:ext cx="1098036" cy="109803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558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7B7C26-FD7F-4A5B-A709-2AF4A34D170B}">
      <dsp:nvSpPr>
        <dsp:cNvPr id="0" name=""/>
        <dsp:cNvSpPr/>
      </dsp:nvSpPr>
      <dsp:spPr>
        <a:xfrm>
          <a:off x="929181" y="1756858"/>
          <a:ext cx="7240049" cy="878429"/>
        </a:xfrm>
        <a:prstGeom prst="rect">
          <a:avLst/>
        </a:prstGeom>
        <a:solidFill>
          <a:srgbClr val="5E829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7253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kern="1200" dirty="0"/>
            <a:t>Областью, в которой большинство людей плохо разбираются в фактических обстоятельствах</a:t>
          </a:r>
          <a:endParaRPr lang="en-US" sz="2200" kern="1200" dirty="0"/>
        </a:p>
      </dsp:txBody>
      <dsp:txXfrm>
        <a:off x="929181" y="1756858"/>
        <a:ext cx="7240049" cy="878429"/>
      </dsp:txXfrm>
    </dsp:sp>
    <dsp:sp modelId="{D048981D-57AE-4E5E-92A6-4FD8E46C0A26}">
      <dsp:nvSpPr>
        <dsp:cNvPr id="0" name=""/>
        <dsp:cNvSpPr/>
      </dsp:nvSpPr>
      <dsp:spPr>
        <a:xfrm>
          <a:off x="380163" y="1647055"/>
          <a:ext cx="1098036" cy="109803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05DCC7-1241-44B5-8AA5-2A649915DFFD}">
      <dsp:nvSpPr>
        <dsp:cNvPr id="0" name=""/>
        <dsp:cNvSpPr/>
      </dsp:nvSpPr>
      <dsp:spPr>
        <a:xfrm>
          <a:off x="609872" y="3074502"/>
          <a:ext cx="7559358" cy="878429"/>
        </a:xfrm>
        <a:prstGeom prst="rect">
          <a:avLst/>
        </a:prstGeom>
        <a:solidFill>
          <a:srgbClr val="5E829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7253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kern="1200" dirty="0"/>
            <a:t>Областью с короткими и долгосрочными результатами влияния</a:t>
          </a:r>
          <a:endParaRPr lang="de-DE" sz="2200" kern="1200" dirty="0"/>
        </a:p>
      </dsp:txBody>
      <dsp:txXfrm>
        <a:off x="609872" y="3074502"/>
        <a:ext cx="7559358" cy="878429"/>
      </dsp:txXfrm>
    </dsp:sp>
    <dsp:sp modelId="{8E6A793E-E8E7-4734-A066-002DAD2D3B02}">
      <dsp:nvSpPr>
        <dsp:cNvPr id="0" name=""/>
        <dsp:cNvSpPr/>
      </dsp:nvSpPr>
      <dsp:spPr>
        <a:xfrm>
          <a:off x="60853" y="2964699"/>
          <a:ext cx="1098036" cy="109803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558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5DCC33-C190-4AE9-8F8B-6AA5A8EBB1D1}">
      <dsp:nvSpPr>
        <dsp:cNvPr id="0" name=""/>
        <dsp:cNvSpPr/>
      </dsp:nvSpPr>
      <dsp:spPr>
        <a:xfrm>
          <a:off x="685799" y="0"/>
          <a:ext cx="7772400" cy="4064000"/>
        </a:xfrm>
        <a:prstGeom prst="rightArrow">
          <a:avLst/>
        </a:prstGeom>
        <a:solidFill>
          <a:srgbClr val="93D3FF"/>
        </a:solidFill>
        <a:ln>
          <a:solidFill>
            <a:srgbClr val="93D3FF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E06929-6B8F-452F-B953-E260BC25651C}">
      <dsp:nvSpPr>
        <dsp:cNvPr id="0" name=""/>
        <dsp:cNvSpPr/>
      </dsp:nvSpPr>
      <dsp:spPr>
        <a:xfrm>
          <a:off x="2511" y="1219199"/>
          <a:ext cx="1462236" cy="1625600"/>
        </a:xfrm>
        <a:prstGeom prst="roundRect">
          <a:avLst/>
        </a:prstGeom>
        <a:solidFill>
          <a:srgbClr val="41A2A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/>
            <a:t>Январь: работа начинается в Министерстве финансов</a:t>
          </a:r>
          <a:endParaRPr lang="en-US" sz="1200" kern="1200" dirty="0"/>
        </a:p>
      </dsp:txBody>
      <dsp:txXfrm>
        <a:off x="73891" y="1290579"/>
        <a:ext cx="1319476" cy="1482840"/>
      </dsp:txXfrm>
    </dsp:sp>
    <dsp:sp modelId="{388F4348-1542-41AA-9663-2F1B2FA1EA2E}">
      <dsp:nvSpPr>
        <dsp:cNvPr id="0" name=""/>
        <dsp:cNvSpPr/>
      </dsp:nvSpPr>
      <dsp:spPr>
        <a:xfrm>
          <a:off x="1537859" y="1219199"/>
          <a:ext cx="1462236" cy="1625600"/>
        </a:xfrm>
        <a:prstGeom prst="roundRect">
          <a:avLst/>
        </a:prstGeom>
        <a:solidFill>
          <a:srgbClr val="00558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/>
            <a:t>Апрель: к процессу подключаются другие соответствующие министерства</a:t>
          </a:r>
          <a:endParaRPr lang="de-DE" sz="1200" kern="1200" dirty="0"/>
        </a:p>
      </dsp:txBody>
      <dsp:txXfrm>
        <a:off x="1609239" y="1290579"/>
        <a:ext cx="1319476" cy="1482840"/>
      </dsp:txXfrm>
    </dsp:sp>
    <dsp:sp modelId="{03418BA3-81CD-4AE0-8874-07D2A876725B}">
      <dsp:nvSpPr>
        <dsp:cNvPr id="0" name=""/>
        <dsp:cNvSpPr/>
      </dsp:nvSpPr>
      <dsp:spPr>
        <a:xfrm>
          <a:off x="3073207" y="1219199"/>
          <a:ext cx="1462236" cy="1625600"/>
        </a:xfrm>
        <a:prstGeom prst="roundRect">
          <a:avLst/>
        </a:prstGeom>
        <a:solidFill>
          <a:srgbClr val="0055B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/>
            <a:t>Июнь: решения правительства</a:t>
          </a:r>
          <a:endParaRPr lang="de-DE" sz="1200" kern="1200" dirty="0"/>
        </a:p>
      </dsp:txBody>
      <dsp:txXfrm>
        <a:off x="3144587" y="1290579"/>
        <a:ext cx="1319476" cy="1482840"/>
      </dsp:txXfrm>
    </dsp:sp>
    <dsp:sp modelId="{28A8A43B-552A-4D63-9B7F-25EB004A645C}">
      <dsp:nvSpPr>
        <dsp:cNvPr id="0" name=""/>
        <dsp:cNvSpPr/>
      </dsp:nvSpPr>
      <dsp:spPr>
        <a:xfrm>
          <a:off x="4608512" y="1224141"/>
          <a:ext cx="1462236" cy="1625600"/>
        </a:xfrm>
        <a:prstGeom prst="roundRect">
          <a:avLst/>
        </a:prstGeom>
        <a:solidFill>
          <a:srgbClr val="5E829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/>
            <a:t>Сентябрь: представление в парламент</a:t>
          </a:r>
          <a:endParaRPr lang="de-DE" sz="1200" kern="1200" dirty="0"/>
        </a:p>
      </dsp:txBody>
      <dsp:txXfrm>
        <a:off x="4679892" y="1295521"/>
        <a:ext cx="1319476" cy="1482840"/>
      </dsp:txXfrm>
    </dsp:sp>
    <dsp:sp modelId="{BDA558FA-BB1B-48DC-AED4-52965E889A4F}">
      <dsp:nvSpPr>
        <dsp:cNvPr id="0" name=""/>
        <dsp:cNvSpPr/>
      </dsp:nvSpPr>
      <dsp:spPr>
        <a:xfrm>
          <a:off x="6143904" y="1219199"/>
          <a:ext cx="1462236" cy="1625600"/>
        </a:xfrm>
        <a:prstGeom prst="roundRect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/>
            <a:t>Октябрь: политические переговоры</a:t>
          </a:r>
          <a:endParaRPr lang="de-DE" sz="1200" kern="1200" dirty="0"/>
        </a:p>
      </dsp:txBody>
      <dsp:txXfrm>
        <a:off x="6215284" y="1290579"/>
        <a:ext cx="1319476" cy="1482840"/>
      </dsp:txXfrm>
    </dsp:sp>
    <dsp:sp modelId="{B19CE146-13CB-4AC8-9254-1D85981A41FD}">
      <dsp:nvSpPr>
        <dsp:cNvPr id="0" name=""/>
        <dsp:cNvSpPr/>
      </dsp:nvSpPr>
      <dsp:spPr>
        <a:xfrm>
          <a:off x="7679252" y="1219199"/>
          <a:ext cx="1462236" cy="1625600"/>
        </a:xfrm>
        <a:prstGeom prst="roundRect">
          <a:avLst/>
        </a:prstGeom>
        <a:solidFill>
          <a:srgbClr val="93D3FF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rgbClr val="00558F"/>
              </a:solidFill>
            </a:rPr>
            <a:t>Декабрь: принятие бюджета</a:t>
          </a:r>
          <a:endParaRPr lang="en-US" sz="1200" kern="1200" dirty="0">
            <a:solidFill>
              <a:srgbClr val="00558F"/>
            </a:solidFill>
          </a:endParaRPr>
        </a:p>
      </dsp:txBody>
      <dsp:txXfrm>
        <a:off x="7750632" y="1290579"/>
        <a:ext cx="1319476" cy="14828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828352C-296D-42CA-A463-2F57CA5FDD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3"/>
            <a:ext cx="3037840" cy="46672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BA4262-8931-415F-B1B5-714E4C9050D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3"/>
            <a:ext cx="3037840" cy="46672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877759-450C-42D8-80EB-C7C116B7354F}" type="datetimeFigureOut">
              <a:rPr lang="en-US" smtClean="0"/>
              <a:pPr/>
              <a:t>12/15/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B4A24C-AFCB-4A6C-8554-AA6AFB4FE5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6"/>
            <a:ext cx="3037840" cy="46672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3D771F-EE24-4F8A-A41F-EFDA7574D80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676"/>
            <a:ext cx="3037840" cy="46672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038770-CBDE-4243-BE4F-2124BDA912F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4815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5AAEE-3CD4-46D4-B6B1-0D5AAD7F8252}" type="datetimeFigureOut">
              <a:rPr lang="en-US" smtClean="0"/>
              <a:pPr/>
              <a:t>12/15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44793-9554-4379-906D-F78EEC415C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510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4682" y="2566214"/>
            <a:ext cx="7924800" cy="1600200"/>
          </a:xfrm>
        </p:spPr>
        <p:txBody>
          <a:bodyPr anchor="b" anchorCtr="0"/>
          <a:lstStyle>
            <a:lvl1pPr algn="l">
              <a:lnSpc>
                <a:spcPts val="4000"/>
              </a:lnSpc>
              <a:defRPr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681" y="4136032"/>
            <a:ext cx="6248400" cy="609600"/>
          </a:xfrm>
        </p:spPr>
        <p:txBody>
          <a:bodyPr/>
          <a:lstStyle>
            <a:lvl1pPr marL="0" indent="0" algn="l">
              <a:buNone/>
              <a:defRPr sz="2800" b="0" i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94701" y="5723986"/>
            <a:ext cx="4343400" cy="652709"/>
          </a:xfrm>
          <a:noFill/>
        </p:spPr>
        <p:txBody>
          <a:bodyPr/>
          <a:lstStyle>
            <a:lvl1pPr marL="0" marR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chemeClr val="accent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Presentation Lo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Presentation Date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794701" y="6360124"/>
            <a:ext cx="3665639" cy="304800"/>
          </a:xfrm>
        </p:spPr>
        <p:txBody>
          <a:bodyPr>
            <a:normAutofit/>
          </a:bodyPr>
          <a:lstStyle>
            <a:lvl1pPr marL="0">
              <a:spcBef>
                <a:spcPts val="0"/>
              </a:spcBef>
              <a:buNone/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presenter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513" y="4162348"/>
            <a:ext cx="7486564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NCT-logo_ƒ-100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757" y="650478"/>
            <a:ext cx="3179046" cy="114445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D3A415-422C-478D-AA41-E452CDDA7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2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200" indent="-45720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800100" indent="-342900">
              <a:buClr>
                <a:schemeClr val="accent1"/>
              </a:buClr>
              <a:buFont typeface="Wingdings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300" indent="-342900">
              <a:buClr>
                <a:schemeClr val="accent1"/>
              </a:buClr>
              <a:buFont typeface="Wingdings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500" indent="-342900">
              <a:buClr>
                <a:schemeClr val="accent1"/>
              </a:buClr>
              <a:buFont typeface="Wingdings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5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200" indent="-457200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800100" indent="-342900">
              <a:buClr>
                <a:srgbClr val="00A6B6"/>
              </a:buClr>
              <a:buFontTx/>
              <a:buNone/>
              <a:defRPr sz="18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300" indent="-342900">
              <a:buClr>
                <a:srgbClr val="00A6B6"/>
              </a:buClr>
              <a:buFontTx/>
              <a:buNone/>
              <a:defRPr sz="16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500" indent="-342900">
              <a:buClr>
                <a:srgbClr val="00A6B6"/>
              </a:buClr>
              <a:buFontTx/>
              <a:buNone/>
              <a:defRPr sz="14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A83FBE-BDBE-4E27-B50F-44D4FCD414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45760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6" r:id="rId3"/>
    <p:sldLayoutId id="2147483677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png"/><Relationship Id="rId11" Type="http://schemas.openxmlformats.org/officeDocument/2006/relationships/image" Target="../media/image15.svg"/><Relationship Id="rId5" Type="http://schemas.openxmlformats.org/officeDocument/2006/relationships/image" Target="../media/image9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680" y="2316489"/>
            <a:ext cx="8349319" cy="1600200"/>
          </a:xfrm>
        </p:spPr>
        <p:txBody>
          <a:bodyPr>
            <a:normAutofit fontScale="90000"/>
          </a:bodyPr>
          <a:lstStyle/>
          <a:p>
            <a:r>
              <a:rPr lang="ru-RU" dirty="0"/>
              <a:t>Почему инвестиции в иммунизацию являются приоритетом для нашей страны?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681" y="4224006"/>
            <a:ext cx="6248400" cy="609600"/>
          </a:xfrm>
        </p:spPr>
        <p:txBody>
          <a:bodyPr>
            <a:normAutofit fontScale="62500" lnSpcReduction="20000"/>
          </a:bodyPr>
          <a:lstStyle/>
          <a:p>
            <a:r>
              <a:rPr lang="ru-RU" dirty="0"/>
              <a:t>Часть </a:t>
            </a:r>
            <a:r>
              <a:rPr lang="en-US"/>
              <a:t>2</a:t>
            </a:r>
            <a:r>
              <a:rPr lang="ru-RU"/>
              <a:t> </a:t>
            </a:r>
            <a:r>
              <a:rPr lang="ru-RU" dirty="0"/>
              <a:t>- Определение лиц, принимающих решения, и структурирование эффективных сообщений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942339" y="5184317"/>
            <a:ext cx="7467390" cy="737121"/>
          </a:xfrm>
        </p:spPr>
        <p:txBody>
          <a:bodyPr>
            <a:normAutofit fontScale="92500"/>
          </a:bodyPr>
          <a:lstStyle/>
          <a:p>
            <a:r>
              <a:rPr lang="ru-RU" dirty="0"/>
              <a:t>Примечание: Данная презентация опирается на работу, проведенную Европейским союзом по мобилизации ресурсов для иммунизации под руководством Ниязи Чакмака. Некоторые из следующих слайдов взяты из семинара, прошедшего в ноябре 2017 года в Копенгагене.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5553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B2EAD79-9C79-40C7-9E3D-7EA540A36931}"/>
              </a:ext>
            </a:extLst>
          </p:cNvPr>
          <p:cNvGrpSpPr/>
          <p:nvPr/>
        </p:nvGrpSpPr>
        <p:grpSpPr>
          <a:xfrm>
            <a:off x="467863" y="1145122"/>
            <a:ext cx="7824183" cy="2679746"/>
            <a:chOff x="579375" y="1439597"/>
            <a:chExt cx="7824183" cy="2679746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4308A10D-C0EF-4ED8-B0AD-165FABB50FD8}"/>
                </a:ext>
              </a:extLst>
            </p:cNvPr>
            <p:cNvSpPr/>
            <p:nvPr/>
          </p:nvSpPr>
          <p:spPr>
            <a:xfrm>
              <a:off x="579375" y="1614004"/>
              <a:ext cx="2823015" cy="2505339"/>
            </a:xfrm>
            <a:prstGeom prst="ellipse">
              <a:avLst/>
            </a:prstGeom>
            <a:solidFill>
              <a:srgbClr val="41A2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2000" b="1" dirty="0">
                  <a:latin typeface="Arial"/>
                  <a:cs typeface="Arial"/>
                </a:rPr>
                <a:t>МОТИВАТОРЫ</a:t>
              </a:r>
              <a:endParaRPr lang="en-GB" sz="2000" b="1" dirty="0">
                <a:latin typeface="Arial"/>
                <a:cs typeface="Arial"/>
              </a:endParaRPr>
            </a:p>
            <a:p>
              <a:pPr algn="ctr"/>
              <a:endParaRPr lang="en-GB" sz="1000" b="1" dirty="0">
                <a:latin typeface="Arial"/>
                <a:cs typeface="Arial"/>
              </a:endParaRPr>
            </a:p>
            <a:p>
              <a:pPr algn="ctr"/>
              <a:r>
                <a:rPr lang="ru-RU" sz="2000" dirty="0">
                  <a:cs typeface="Arial"/>
                </a:rPr>
                <a:t>причины, по которым они бы оказали </a:t>
              </a:r>
              <a:r>
                <a:rPr lang="ru-RU" sz="2000" b="1" u="sng" dirty="0">
                  <a:cs typeface="Arial"/>
                </a:rPr>
                <a:t>поддержку</a:t>
              </a:r>
              <a:r>
                <a:rPr lang="ru-RU" sz="2000" dirty="0">
                  <a:cs typeface="Arial"/>
                </a:rPr>
                <a:t> иммунизации</a:t>
              </a:r>
              <a:endParaRPr lang="en-US" sz="2000" dirty="0">
                <a:latin typeface="Arial"/>
                <a:cs typeface="Arial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90FCE0E-5978-4791-9E17-0B15CD0360D1}"/>
                </a:ext>
              </a:extLst>
            </p:cNvPr>
            <p:cNvSpPr/>
            <p:nvPr/>
          </p:nvSpPr>
          <p:spPr>
            <a:xfrm>
              <a:off x="5580543" y="1611576"/>
              <a:ext cx="2823015" cy="2505339"/>
            </a:xfrm>
            <a:prstGeom prst="ellipse">
              <a:avLst/>
            </a:prstGeom>
            <a:solidFill>
              <a:srgbClr val="41A2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2000" b="1" dirty="0">
                  <a:latin typeface="Arial"/>
                  <a:cs typeface="Arial"/>
                </a:rPr>
                <a:t>БАРЬЕРЫ</a:t>
              </a:r>
              <a:endParaRPr lang="en-GB" sz="2000" b="1" dirty="0">
                <a:latin typeface="Arial"/>
                <a:cs typeface="Arial"/>
              </a:endParaRPr>
            </a:p>
            <a:p>
              <a:pPr algn="ctr"/>
              <a:endParaRPr lang="ru-RU" sz="1000" dirty="0">
                <a:cs typeface="Arial"/>
              </a:endParaRPr>
            </a:p>
            <a:p>
              <a:pPr algn="ctr"/>
              <a:r>
                <a:rPr lang="ru-RU" sz="2000" dirty="0">
                  <a:cs typeface="Arial"/>
                </a:rPr>
                <a:t>причины, по которым они </a:t>
              </a:r>
              <a:r>
                <a:rPr lang="ru-RU" sz="2000" b="1" u="sng" dirty="0">
                  <a:cs typeface="Arial"/>
                </a:rPr>
                <a:t>не</a:t>
              </a:r>
              <a:r>
                <a:rPr lang="ru-RU" sz="2000" dirty="0">
                  <a:cs typeface="Arial"/>
                </a:rPr>
                <a:t> стали бы поддерживать иммунизацию</a:t>
              </a:r>
              <a:endParaRPr lang="en-US" sz="2000" dirty="0">
                <a:latin typeface="Arial"/>
                <a:cs typeface="Arial"/>
              </a:endParaRPr>
            </a:p>
          </p:txBody>
        </p:sp>
        <p:sp>
          <p:nvSpPr>
            <p:cNvPr id="10" name="Plus 4">
              <a:extLst>
                <a:ext uri="{FF2B5EF4-FFF2-40B4-BE49-F238E27FC236}">
                  <a16:creationId xmlns:a16="http://schemas.microsoft.com/office/drawing/2014/main" id="{87759CCA-16A6-42B9-96B5-4E6E54756412}"/>
                </a:ext>
              </a:extLst>
            </p:cNvPr>
            <p:cNvSpPr/>
            <p:nvPr/>
          </p:nvSpPr>
          <p:spPr>
            <a:xfrm>
              <a:off x="2873007" y="1439597"/>
              <a:ext cx="1440160" cy="1440000"/>
            </a:xfrm>
            <a:prstGeom prst="mathPlus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DBBA31CA-71B9-4B6A-B334-531797B08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66" y="310344"/>
            <a:ext cx="7685734" cy="1225862"/>
          </a:xfrm>
        </p:spPr>
        <p:txBody>
          <a:bodyPr/>
          <a:lstStyle/>
          <a:p>
            <a:r>
              <a:rPr lang="ru-RU" dirty="0"/>
              <a:t>ДВЕ ВАЖНЫХ КОНЦЕПЦИИ ДЛЯ ЛИЦ, ПРИНИМАЮЩИХ РЕШЕНИЯ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A58C90-D849-4ECA-A777-75DA8085D50A}"/>
              </a:ext>
            </a:extLst>
          </p:cNvPr>
          <p:cNvSpPr/>
          <p:nvPr/>
        </p:nvSpPr>
        <p:spPr>
          <a:xfrm>
            <a:off x="277166" y="3999275"/>
            <a:ext cx="4259865" cy="2616101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marL="285750" lvl="0" indent="-285750">
              <a:spcAft>
                <a:spcPts val="800"/>
              </a:spcAft>
            </a:pPr>
            <a:r>
              <a:rPr lang="ru-RU" sz="1600" dirty="0">
                <a:solidFill>
                  <a:srgbClr val="41A2AA"/>
                </a:solidFill>
                <a:cs typeface="Arial"/>
              </a:rPr>
              <a:t>Как иммунизация может вписаться ...</a:t>
            </a:r>
          </a:p>
          <a:p>
            <a:pPr marL="285750" lvl="0" indent="-285750">
              <a:spcAft>
                <a:spcPts val="800"/>
              </a:spcAft>
              <a:buFont typeface="Arial"/>
              <a:buChar char="•"/>
            </a:pPr>
            <a:r>
              <a:rPr lang="ru-RU" sz="1600" dirty="0">
                <a:solidFill>
                  <a:srgbClr val="41A2AA"/>
                </a:solidFill>
                <a:cs typeface="Arial"/>
              </a:rPr>
              <a:t>В личную или политическую </a:t>
            </a:r>
            <a:r>
              <a:rPr lang="ru-RU" sz="1600" b="1" dirty="0">
                <a:solidFill>
                  <a:srgbClr val="41A2AA"/>
                </a:solidFill>
                <a:cs typeface="Arial"/>
              </a:rPr>
              <a:t>позицию</a:t>
            </a:r>
            <a:r>
              <a:rPr lang="ru-RU" sz="1600" dirty="0">
                <a:solidFill>
                  <a:srgbClr val="41A2AA"/>
                </a:solidFill>
                <a:cs typeface="Arial"/>
              </a:rPr>
              <a:t> заинтересованного лица?</a:t>
            </a:r>
          </a:p>
          <a:p>
            <a:pPr marL="285750" lvl="0" indent="-285750">
              <a:spcAft>
                <a:spcPts val="800"/>
              </a:spcAft>
              <a:buFont typeface="Arial"/>
              <a:buChar char="•"/>
            </a:pPr>
            <a:r>
              <a:rPr lang="ru-RU" sz="1600" dirty="0">
                <a:solidFill>
                  <a:srgbClr val="41A2AA"/>
                </a:solidFill>
                <a:cs typeface="Arial"/>
              </a:rPr>
              <a:t>В </a:t>
            </a:r>
            <a:r>
              <a:rPr lang="ru-RU" sz="1600" b="1" dirty="0">
                <a:solidFill>
                  <a:srgbClr val="41A2AA"/>
                </a:solidFill>
                <a:cs typeface="Arial"/>
              </a:rPr>
              <a:t>политическую программу</a:t>
            </a:r>
            <a:r>
              <a:rPr lang="ru-RU" sz="1600" dirty="0">
                <a:solidFill>
                  <a:srgbClr val="41A2AA"/>
                </a:solidFill>
                <a:cs typeface="Arial"/>
              </a:rPr>
              <a:t>, наиболее важную для заинтересованной стороны?</a:t>
            </a:r>
          </a:p>
          <a:p>
            <a:pPr marL="285750" lvl="0" indent="-285750">
              <a:spcAft>
                <a:spcPts val="800"/>
              </a:spcAft>
              <a:buFont typeface="Arial"/>
              <a:buChar char="•"/>
            </a:pPr>
            <a:r>
              <a:rPr lang="ru-RU" sz="1600" dirty="0">
                <a:solidFill>
                  <a:srgbClr val="41A2AA"/>
                </a:solidFill>
                <a:cs typeface="Arial"/>
              </a:rPr>
              <a:t>В возможные области, в которых заинтересованная сторона может </a:t>
            </a:r>
            <a:r>
              <a:rPr lang="ru-RU" sz="1600" b="1" dirty="0">
                <a:solidFill>
                  <a:srgbClr val="41A2AA"/>
                </a:solidFill>
                <a:cs typeface="Arial"/>
              </a:rPr>
              <a:t>желать добиться успеха</a:t>
            </a:r>
            <a:r>
              <a:rPr lang="ru-RU" sz="1600" dirty="0">
                <a:solidFill>
                  <a:srgbClr val="41A2AA"/>
                </a:solidFill>
                <a:cs typeface="Arial"/>
              </a:rPr>
              <a:t>?</a:t>
            </a:r>
            <a:endParaRPr lang="en-US" sz="1600" dirty="0">
              <a:solidFill>
                <a:srgbClr val="41A2AA"/>
              </a:solidFill>
              <a:cs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B98395F-BF67-42DB-B888-B43B732F7A9F}"/>
              </a:ext>
            </a:extLst>
          </p:cNvPr>
          <p:cNvSpPr/>
          <p:nvPr/>
        </p:nvSpPr>
        <p:spPr>
          <a:xfrm>
            <a:off x="4572000" y="3977268"/>
            <a:ext cx="4324320" cy="2759730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marL="285750" lvl="0" indent="-285750">
              <a:spcAft>
                <a:spcPts val="400"/>
              </a:spcAft>
              <a:buFont typeface="Arial"/>
              <a:buChar char="•"/>
            </a:pPr>
            <a:r>
              <a:rPr lang="ru-RU" sz="1600" dirty="0">
                <a:solidFill>
                  <a:srgbClr val="C00000"/>
                </a:solidFill>
                <a:cs typeface="Arial"/>
              </a:rPr>
              <a:t>Существование других (медицинских) областей, которые для него / нее важнее?</a:t>
            </a:r>
          </a:p>
          <a:p>
            <a:pPr marL="285750" lvl="0" indent="-285750">
              <a:spcAft>
                <a:spcPts val="400"/>
              </a:spcAft>
              <a:buFont typeface="Arial"/>
              <a:buChar char="•"/>
            </a:pPr>
            <a:r>
              <a:rPr lang="ru-RU" sz="1600" dirty="0">
                <a:solidFill>
                  <a:srgbClr val="C00000"/>
                </a:solidFill>
                <a:cs typeface="Arial"/>
              </a:rPr>
              <a:t>Отсутствие знаний или понимания социальных преимуществ вакцинации?</a:t>
            </a:r>
          </a:p>
          <a:p>
            <a:pPr marL="285750" lvl="0" indent="-285750">
              <a:spcAft>
                <a:spcPts val="400"/>
              </a:spcAft>
              <a:buFont typeface="Arial"/>
              <a:buChar char="•"/>
            </a:pPr>
            <a:r>
              <a:rPr lang="ru-RU" sz="1600" dirty="0">
                <a:solidFill>
                  <a:srgbClr val="C00000"/>
                </a:solidFill>
                <a:cs typeface="Arial"/>
              </a:rPr>
              <a:t>Отсутствие знаний об экономической эффективности вакцинации?</a:t>
            </a:r>
          </a:p>
          <a:p>
            <a:pPr marL="285750" lvl="0" indent="-285750">
              <a:spcAft>
                <a:spcPts val="400"/>
              </a:spcAft>
              <a:buFont typeface="Arial"/>
              <a:buChar char="•"/>
            </a:pPr>
            <a:r>
              <a:rPr lang="ru-RU" sz="1600" dirty="0">
                <a:solidFill>
                  <a:srgbClr val="C00000"/>
                </a:solidFill>
                <a:cs typeface="Arial"/>
              </a:rPr>
              <a:t>Неправильное понимание сути вакцинации?</a:t>
            </a:r>
          </a:p>
          <a:p>
            <a:pPr marL="285750" lvl="0" indent="-285750">
              <a:spcAft>
                <a:spcPts val="400"/>
              </a:spcAft>
              <a:buFont typeface="Arial"/>
              <a:buChar char="•"/>
            </a:pPr>
            <a:r>
              <a:rPr lang="ru-RU" sz="1600" dirty="0">
                <a:solidFill>
                  <a:srgbClr val="C00000"/>
                </a:solidFill>
                <a:cs typeface="Arial"/>
              </a:rPr>
              <a:t>Страх негативной медиа среды?</a:t>
            </a:r>
            <a:endParaRPr lang="da-DK" sz="1600" dirty="0">
              <a:solidFill>
                <a:srgbClr val="C00000"/>
              </a:solidFill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163D0C-186C-4EA0-833A-96E993B5E8AF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bg1">
                    <a:lumMod val="90000"/>
                  </a:schemeClr>
                </a:solidFill>
              </a:rPr>
              <a:t>ШАГ</a:t>
            </a:r>
            <a:endParaRPr lang="en-US" sz="2800" b="1" dirty="0">
              <a:solidFill>
                <a:schemeClr val="bg1">
                  <a:lumMod val="90000"/>
                </a:schemeClr>
              </a:solidFill>
            </a:endParaRPr>
          </a:p>
          <a:p>
            <a:pPr algn="ctr"/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/>
            <a:r>
              <a:rPr lang="en-US" sz="2800" b="1" dirty="0">
                <a:solidFill>
                  <a:schemeClr val="accent1"/>
                </a:solidFill>
              </a:rPr>
              <a:t>3</a:t>
            </a:r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 4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BA5E82-9425-49A0-B985-D1295BBFBB97}"/>
              </a:ext>
            </a:extLst>
          </p:cNvPr>
          <p:cNvSpPr/>
          <p:nvPr/>
        </p:nvSpPr>
        <p:spPr>
          <a:xfrm>
            <a:off x="4713761" y="1591436"/>
            <a:ext cx="1232490" cy="547371"/>
          </a:xfrm>
          <a:prstGeom prst="rect">
            <a:avLst/>
          </a:prstGeom>
          <a:solidFill>
            <a:srgbClr val="E32726"/>
          </a:solidFill>
          <a:ln>
            <a:solidFill>
              <a:srgbClr val="E327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5695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E166A-41DF-4FA0-8107-C67D7D3514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7"/>
            <a:ext cx="7233648" cy="1143000"/>
          </a:xfrm>
        </p:spPr>
        <p:txBody>
          <a:bodyPr>
            <a:normAutofit/>
          </a:bodyPr>
          <a:lstStyle/>
          <a:p>
            <a:r>
              <a:rPr lang="ru-RU" dirty="0"/>
              <a:t>ИММУНИЗАЦИЯ МОЖЕТ БЫТЬ ..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835AF9-CC80-4E06-AEBD-5E523810F6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11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FC872E96-C7CC-4BDB-9AD5-421F0A4921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6704939"/>
              </p:ext>
            </p:extLst>
          </p:nvPr>
        </p:nvGraphicFramePr>
        <p:xfrm>
          <a:off x="457200" y="1417637"/>
          <a:ext cx="8229600" cy="43921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61A5BF6E-CAC5-4B9B-8302-D9994DAB57E3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bg1">
                    <a:lumMod val="90000"/>
                  </a:schemeClr>
                </a:solidFill>
              </a:rPr>
              <a:t>ШАГ</a:t>
            </a:r>
            <a:endParaRPr lang="en-US" sz="2800" b="1" dirty="0">
              <a:solidFill>
                <a:schemeClr val="bg1">
                  <a:lumMod val="90000"/>
                </a:schemeClr>
              </a:solidFill>
            </a:endParaRPr>
          </a:p>
          <a:p>
            <a:pPr algn="ctr"/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/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3 </a:t>
            </a:r>
            <a:r>
              <a:rPr lang="en-US" sz="2800" b="1" dirty="0">
                <a:solidFill>
                  <a:schemeClr val="accent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3428190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8EBF54-6258-4476-9FBC-205744E0B7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dirty="0"/>
              <a:t>БЫТЬ ГОТОВЫМИ ДЛЯ РАБОТЫ НАД ..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449804-936E-4AD9-B1B8-7C87CF05D3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12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389A1E4-D1BA-459A-A529-E5C053DA840A}"/>
              </a:ext>
            </a:extLst>
          </p:cNvPr>
          <p:cNvGrpSpPr/>
          <p:nvPr/>
        </p:nvGrpSpPr>
        <p:grpSpPr>
          <a:xfrm>
            <a:off x="611561" y="1913190"/>
            <a:ext cx="7920878" cy="3525871"/>
            <a:chOff x="611561" y="1666064"/>
            <a:chExt cx="7920878" cy="352587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9A35000-CF96-461B-B0FD-BBF41EFED9EB}"/>
                </a:ext>
              </a:extLst>
            </p:cNvPr>
            <p:cNvGrpSpPr/>
            <p:nvPr/>
          </p:nvGrpSpPr>
          <p:grpSpPr>
            <a:xfrm>
              <a:off x="611561" y="1666064"/>
              <a:ext cx="915348" cy="1307641"/>
              <a:chOff x="1" y="1259"/>
              <a:chExt cx="915348" cy="1307641"/>
            </a:xfrm>
          </p:grpSpPr>
          <p:sp>
            <p:nvSpPr>
              <p:cNvPr id="22" name="Arrow: Chevron 21">
                <a:extLst>
                  <a:ext uri="{FF2B5EF4-FFF2-40B4-BE49-F238E27FC236}">
                    <a16:creationId xmlns:a16="http://schemas.microsoft.com/office/drawing/2014/main" id="{F560E0E1-BFF3-45E9-A476-5528371D28BB}"/>
                  </a:ext>
                </a:extLst>
              </p:cNvPr>
              <p:cNvSpPr/>
              <p:nvPr/>
            </p:nvSpPr>
            <p:spPr>
              <a:xfrm rot="5400000">
                <a:off x="-196146" y="197406"/>
                <a:ext cx="1307641" cy="915348"/>
              </a:xfrm>
              <a:prstGeom prst="chevron">
                <a:avLst/>
              </a:prstGeom>
              <a:solidFill>
                <a:srgbClr val="00558F"/>
              </a:solidFill>
              <a:ln>
                <a:solidFill>
                  <a:srgbClr val="00558F"/>
                </a:solidFill>
              </a:ln>
            </p:spPr>
            <p:style>
              <a:lnRef idx="1">
                <a:scrgbClr r="0" g="0" b="0"/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23" name="Arrow: Chevron 4">
                <a:extLst>
                  <a:ext uri="{FF2B5EF4-FFF2-40B4-BE49-F238E27FC236}">
                    <a16:creationId xmlns:a16="http://schemas.microsoft.com/office/drawing/2014/main" id="{82F64770-D88C-4253-9E90-61D29D69C944}"/>
                  </a:ext>
                </a:extLst>
              </p:cNvPr>
              <p:cNvSpPr txBox="1"/>
              <p:nvPr/>
            </p:nvSpPr>
            <p:spPr>
              <a:xfrm>
                <a:off x="1" y="458933"/>
                <a:ext cx="915348" cy="392293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2700" tIns="12700" rIns="12700" bIns="12700" numCol="1" spcCol="1270" anchor="ctr" anchorCtr="0">
                <a:noAutofit/>
              </a:bodyPr>
              <a:lstStyle/>
              <a:p>
                <a:pPr marL="0" lvl="0" indent="0" algn="ctr" defTabSz="88900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GB" sz="2200" kern="1200">
                  <a:latin typeface="Arial"/>
                  <a:cs typeface="Arial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E4805DB-80A9-4F98-9B40-78906CC34F44}"/>
                </a:ext>
              </a:extLst>
            </p:cNvPr>
            <p:cNvGrpSpPr/>
            <p:nvPr/>
          </p:nvGrpSpPr>
          <p:grpSpPr>
            <a:xfrm>
              <a:off x="1526908" y="1666066"/>
              <a:ext cx="7005531" cy="849966"/>
              <a:chOff x="915348" y="1261"/>
              <a:chExt cx="7005531" cy="849966"/>
            </a:xfrm>
          </p:grpSpPr>
          <p:sp>
            <p:nvSpPr>
              <p:cNvPr id="20" name="Rectangle: Top Corners Rounded 19">
                <a:extLst>
                  <a:ext uri="{FF2B5EF4-FFF2-40B4-BE49-F238E27FC236}">
                    <a16:creationId xmlns:a16="http://schemas.microsoft.com/office/drawing/2014/main" id="{74DC08B1-6AB6-4E5C-8726-B691A9EF990E}"/>
                  </a:ext>
                </a:extLst>
              </p:cNvPr>
              <p:cNvSpPr/>
              <p:nvPr/>
            </p:nvSpPr>
            <p:spPr>
              <a:xfrm rot="5400000">
                <a:off x="3993131" y="-3076522"/>
                <a:ext cx="849966" cy="7005531"/>
              </a:xfrm>
              <a:prstGeom prst="round2SameRect">
                <a:avLst/>
              </a:prstGeom>
              <a:ln w="38100" cmpd="sng">
                <a:solidFill>
                  <a:srgbClr val="00558F"/>
                </a:solidFill>
              </a:ln>
            </p:spPr>
            <p:style>
              <a:lnRef idx="1">
                <a:scrgbClr r="0" g="0" b="0"/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1" name="Rectangle: Top Corners Rounded 6">
                <a:extLst>
                  <a:ext uri="{FF2B5EF4-FFF2-40B4-BE49-F238E27FC236}">
                    <a16:creationId xmlns:a16="http://schemas.microsoft.com/office/drawing/2014/main" id="{8619B052-5319-410D-AAEB-15EF159A858E}"/>
                  </a:ext>
                </a:extLst>
              </p:cNvPr>
              <p:cNvSpPr txBox="1"/>
              <p:nvPr/>
            </p:nvSpPr>
            <p:spPr>
              <a:xfrm>
                <a:off x="915349" y="42752"/>
                <a:ext cx="6964039" cy="76698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42240" tIns="12700" rIns="12700" bIns="12700" numCol="1" spcCol="1270" anchor="ctr" anchorCtr="0">
                <a:noAutofit/>
              </a:bodyPr>
              <a:lstStyle/>
              <a:p>
                <a:pPr marL="228600" lvl="1" indent="-228600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har char="•"/>
                </a:pPr>
                <a:r>
                  <a:rPr lang="ru-RU" sz="2200" b="1" dirty="0">
                    <a:solidFill>
                      <a:srgbClr val="00558F"/>
                    </a:solidFill>
                    <a:cs typeface="Arial"/>
                  </a:rPr>
                  <a:t>Инвестициями </a:t>
                </a:r>
                <a:r>
                  <a:rPr lang="ru-RU" sz="2200" dirty="0">
                    <a:solidFill>
                      <a:schemeClr val="tx1"/>
                    </a:solidFill>
                    <a:cs typeface="Arial"/>
                  </a:rPr>
                  <a:t>- в конкретные сроки</a:t>
                </a:r>
                <a:endParaRPr lang="en-GB" sz="2200" kern="1200" dirty="0">
                  <a:solidFill>
                    <a:schemeClr val="tx1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314B05B-8BBB-4666-9C66-67AE46D33AD8}"/>
                </a:ext>
              </a:extLst>
            </p:cNvPr>
            <p:cNvGrpSpPr/>
            <p:nvPr/>
          </p:nvGrpSpPr>
          <p:grpSpPr>
            <a:xfrm>
              <a:off x="611561" y="2775179"/>
              <a:ext cx="915348" cy="1307641"/>
              <a:chOff x="1" y="1110374"/>
              <a:chExt cx="915348" cy="1307641"/>
            </a:xfrm>
          </p:grpSpPr>
          <p:sp>
            <p:nvSpPr>
              <p:cNvPr id="18" name="Arrow: Chevron 17">
                <a:extLst>
                  <a:ext uri="{FF2B5EF4-FFF2-40B4-BE49-F238E27FC236}">
                    <a16:creationId xmlns:a16="http://schemas.microsoft.com/office/drawing/2014/main" id="{22C7CC55-3753-41EE-9796-68A94BDA68B2}"/>
                  </a:ext>
                </a:extLst>
              </p:cNvPr>
              <p:cNvSpPr/>
              <p:nvPr/>
            </p:nvSpPr>
            <p:spPr>
              <a:xfrm rot="5400000">
                <a:off x="-196146" y="1306521"/>
                <a:ext cx="1307641" cy="915348"/>
              </a:xfrm>
              <a:prstGeom prst="chevron">
                <a:avLst/>
              </a:prstGeom>
              <a:solidFill>
                <a:srgbClr val="41A2AA"/>
              </a:solidFill>
              <a:ln>
                <a:solidFill>
                  <a:srgbClr val="41A2AA"/>
                </a:solidFill>
              </a:ln>
            </p:spPr>
            <p:style>
              <a:lnRef idx="1">
                <a:scrgbClr r="0" g="0" b="0"/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9" name="Arrow: Chevron 8">
                <a:extLst>
                  <a:ext uri="{FF2B5EF4-FFF2-40B4-BE49-F238E27FC236}">
                    <a16:creationId xmlns:a16="http://schemas.microsoft.com/office/drawing/2014/main" id="{82ADD9A5-C2C7-4760-89B0-2173C9CA2909}"/>
                  </a:ext>
                </a:extLst>
              </p:cNvPr>
              <p:cNvSpPr txBox="1"/>
              <p:nvPr/>
            </p:nvSpPr>
            <p:spPr>
              <a:xfrm>
                <a:off x="1" y="1568048"/>
                <a:ext cx="915348" cy="392293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2700" tIns="12700" rIns="12700" bIns="12700" numCol="1" spcCol="1270" anchor="ctr" anchorCtr="0">
                <a:noAutofit/>
              </a:bodyPr>
              <a:lstStyle/>
              <a:p>
                <a:pPr marL="0" lvl="0" indent="0" algn="ctr" defTabSz="88900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GB" sz="2200" kern="1200">
                  <a:latin typeface="Arial"/>
                  <a:cs typeface="Arial"/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99E3064-26DE-477D-B63B-8BC0DFBA18CC}"/>
                </a:ext>
              </a:extLst>
            </p:cNvPr>
            <p:cNvGrpSpPr/>
            <p:nvPr/>
          </p:nvGrpSpPr>
          <p:grpSpPr>
            <a:xfrm>
              <a:off x="1526908" y="2775182"/>
              <a:ext cx="7005531" cy="849966"/>
              <a:chOff x="915348" y="1110377"/>
              <a:chExt cx="7005531" cy="849966"/>
            </a:xfrm>
          </p:grpSpPr>
          <p:sp>
            <p:nvSpPr>
              <p:cNvPr id="16" name="Rectangle: Top Corners Rounded 15">
                <a:extLst>
                  <a:ext uri="{FF2B5EF4-FFF2-40B4-BE49-F238E27FC236}">
                    <a16:creationId xmlns:a16="http://schemas.microsoft.com/office/drawing/2014/main" id="{BC522748-6199-4A5C-8E0F-7D6FFABD60B7}"/>
                  </a:ext>
                </a:extLst>
              </p:cNvPr>
              <p:cNvSpPr/>
              <p:nvPr/>
            </p:nvSpPr>
            <p:spPr>
              <a:xfrm rot="5400000">
                <a:off x="3993131" y="-1967406"/>
                <a:ext cx="849966" cy="7005531"/>
              </a:xfrm>
              <a:prstGeom prst="round2SameRect">
                <a:avLst/>
              </a:prstGeom>
              <a:ln w="38100" cmpd="sng">
                <a:solidFill>
                  <a:srgbClr val="41A2AA"/>
                </a:solidFill>
              </a:ln>
            </p:spPr>
            <p:style>
              <a:lnRef idx="1">
                <a:scrgbClr r="0" g="0" b="0"/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7" name="Rectangle: Top Corners Rounded 10">
                <a:extLst>
                  <a:ext uri="{FF2B5EF4-FFF2-40B4-BE49-F238E27FC236}">
                    <a16:creationId xmlns:a16="http://schemas.microsoft.com/office/drawing/2014/main" id="{64D41765-F3BD-41BE-9EA9-BBAAC61D18B2}"/>
                  </a:ext>
                </a:extLst>
              </p:cNvPr>
              <p:cNvSpPr txBox="1"/>
              <p:nvPr/>
            </p:nvSpPr>
            <p:spPr>
              <a:xfrm>
                <a:off x="915349" y="1151868"/>
                <a:ext cx="6964039" cy="76698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42240" tIns="12700" rIns="12700" bIns="12700" numCol="1" spcCol="1270" anchor="ctr" anchorCtr="0">
                <a:noAutofit/>
              </a:bodyPr>
              <a:lstStyle/>
              <a:p>
                <a:pPr marL="228600" lvl="1" indent="-228600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har char="•"/>
                </a:pPr>
                <a:r>
                  <a:rPr lang="ru-RU" sz="2200" b="1" dirty="0">
                    <a:solidFill>
                      <a:srgbClr val="41A2AA"/>
                    </a:solidFill>
                    <a:cs typeface="Arial"/>
                  </a:rPr>
                  <a:t>Преимуществами </a:t>
                </a:r>
                <a:r>
                  <a:rPr lang="ru-RU" sz="2200" dirty="0">
                    <a:solidFill>
                      <a:schemeClr val="tx1"/>
                    </a:solidFill>
                    <a:cs typeface="Arial"/>
                  </a:rPr>
                  <a:t>- в количественном выражении, насколько это возможно</a:t>
                </a:r>
                <a:endParaRPr lang="en-GB" sz="2200" kern="1200" dirty="0">
                  <a:solidFill>
                    <a:schemeClr val="tx1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70025F5-FD94-40C3-852B-4C7427E170FE}"/>
                </a:ext>
              </a:extLst>
            </p:cNvPr>
            <p:cNvGrpSpPr/>
            <p:nvPr/>
          </p:nvGrpSpPr>
          <p:grpSpPr>
            <a:xfrm>
              <a:off x="611561" y="3884294"/>
              <a:ext cx="915348" cy="1307641"/>
              <a:chOff x="1" y="2219489"/>
              <a:chExt cx="915348" cy="1307641"/>
            </a:xfrm>
          </p:grpSpPr>
          <p:sp>
            <p:nvSpPr>
              <p:cNvPr id="14" name="Arrow: Chevron 13">
                <a:extLst>
                  <a:ext uri="{FF2B5EF4-FFF2-40B4-BE49-F238E27FC236}">
                    <a16:creationId xmlns:a16="http://schemas.microsoft.com/office/drawing/2014/main" id="{AD6552BD-30C4-4737-8C21-75B84435853B}"/>
                  </a:ext>
                </a:extLst>
              </p:cNvPr>
              <p:cNvSpPr/>
              <p:nvPr/>
            </p:nvSpPr>
            <p:spPr>
              <a:xfrm rot="5400000">
                <a:off x="-196146" y="2415636"/>
                <a:ext cx="1307641" cy="915348"/>
              </a:xfrm>
              <a:prstGeom prst="chevron">
                <a:avLst/>
              </a:prstGeom>
              <a:solidFill>
                <a:srgbClr val="5E8299"/>
              </a:solidFill>
              <a:ln>
                <a:solidFill>
                  <a:srgbClr val="5E8299"/>
                </a:solidFill>
              </a:ln>
            </p:spPr>
            <p:style>
              <a:lnRef idx="1">
                <a:scrgbClr r="0" g="0" b="0"/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5" name="Arrow: Chevron 12">
                <a:extLst>
                  <a:ext uri="{FF2B5EF4-FFF2-40B4-BE49-F238E27FC236}">
                    <a16:creationId xmlns:a16="http://schemas.microsoft.com/office/drawing/2014/main" id="{16BF1F78-4721-4D8D-BCD8-05FB51BEEEC9}"/>
                  </a:ext>
                </a:extLst>
              </p:cNvPr>
              <p:cNvSpPr txBox="1"/>
              <p:nvPr/>
            </p:nvSpPr>
            <p:spPr>
              <a:xfrm>
                <a:off x="1" y="2677163"/>
                <a:ext cx="915348" cy="392293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2700" tIns="12700" rIns="12700" bIns="12700" numCol="1" spcCol="1270" anchor="ctr" anchorCtr="0">
                <a:noAutofit/>
              </a:bodyPr>
              <a:lstStyle/>
              <a:p>
                <a:pPr marL="0" lvl="0" indent="0" algn="ctr" defTabSz="88900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GB" sz="2200" kern="1200" dirty="0">
                  <a:latin typeface="Arial"/>
                  <a:cs typeface="Arial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996DE0E-E1BA-4033-9816-4CFAEEA48C8C}"/>
                </a:ext>
              </a:extLst>
            </p:cNvPr>
            <p:cNvGrpSpPr/>
            <p:nvPr/>
          </p:nvGrpSpPr>
          <p:grpSpPr>
            <a:xfrm>
              <a:off x="1526908" y="3884297"/>
              <a:ext cx="7005531" cy="849966"/>
              <a:chOff x="915348" y="2219492"/>
              <a:chExt cx="7005531" cy="849966"/>
            </a:xfrm>
          </p:grpSpPr>
          <p:sp>
            <p:nvSpPr>
              <p:cNvPr id="12" name="Rectangle: Top Corners Rounded 11">
                <a:extLst>
                  <a:ext uri="{FF2B5EF4-FFF2-40B4-BE49-F238E27FC236}">
                    <a16:creationId xmlns:a16="http://schemas.microsoft.com/office/drawing/2014/main" id="{523C59D4-ACFE-4CF8-A10F-D1D0D53D4E29}"/>
                  </a:ext>
                </a:extLst>
              </p:cNvPr>
              <p:cNvSpPr/>
              <p:nvPr/>
            </p:nvSpPr>
            <p:spPr>
              <a:xfrm rot="5400000">
                <a:off x="3993131" y="-858291"/>
                <a:ext cx="849966" cy="7005531"/>
              </a:xfrm>
              <a:prstGeom prst="round2SameRect">
                <a:avLst/>
              </a:prstGeom>
              <a:ln w="38100" cmpd="sng">
                <a:solidFill>
                  <a:srgbClr val="5E8299"/>
                </a:solidFill>
              </a:ln>
            </p:spPr>
            <p:style>
              <a:lnRef idx="1">
                <a:scrgbClr r="0" g="0" b="0"/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3" name="Rectangle: Top Corners Rounded 14">
                <a:extLst>
                  <a:ext uri="{FF2B5EF4-FFF2-40B4-BE49-F238E27FC236}">
                    <a16:creationId xmlns:a16="http://schemas.microsoft.com/office/drawing/2014/main" id="{C35F37FF-5185-469F-896A-D985EC7699B2}"/>
                  </a:ext>
                </a:extLst>
              </p:cNvPr>
              <p:cNvSpPr txBox="1"/>
              <p:nvPr/>
            </p:nvSpPr>
            <p:spPr>
              <a:xfrm>
                <a:off x="915349" y="2260983"/>
                <a:ext cx="6964039" cy="76698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42240" tIns="12700" rIns="12700" bIns="12700" numCol="1" spcCol="1270" anchor="ctr" anchorCtr="0">
                <a:noAutofit/>
              </a:bodyPr>
              <a:lstStyle/>
              <a:p>
                <a:pPr marL="228600" lvl="1" indent="-228600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har char="•"/>
                </a:pPr>
                <a:r>
                  <a:rPr lang="ru-RU" sz="2200" b="1" dirty="0">
                    <a:solidFill>
                      <a:srgbClr val="5E8299"/>
                    </a:solidFill>
                    <a:cs typeface="Arial"/>
                  </a:rPr>
                  <a:t>Этапами </a:t>
                </a:r>
                <a:r>
                  <a:rPr lang="ru-RU" sz="2200" dirty="0">
                    <a:solidFill>
                      <a:schemeClr val="tx1"/>
                    </a:solidFill>
                    <a:cs typeface="Arial"/>
                  </a:rPr>
                  <a:t>- как, когда и где это будет реализовано?</a:t>
                </a:r>
                <a:endParaRPr lang="en-GB" sz="2200" kern="1200" dirty="0">
                  <a:solidFill>
                    <a:schemeClr val="tx1"/>
                  </a:solidFill>
                  <a:latin typeface="Arial"/>
                  <a:cs typeface="Arial"/>
                </a:endParaRPr>
              </a:p>
            </p:txBody>
          </p:sp>
        </p:grp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9FEE5D39-37C2-426F-A609-AD7DD0158885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bg1">
                    <a:lumMod val="90000"/>
                  </a:schemeClr>
                </a:solidFill>
              </a:rPr>
              <a:t>ШАГ</a:t>
            </a:r>
            <a:endParaRPr lang="en-US" sz="2800" b="1" dirty="0">
              <a:solidFill>
                <a:schemeClr val="bg1">
                  <a:lumMod val="90000"/>
                </a:schemeClr>
              </a:solidFill>
            </a:endParaRPr>
          </a:p>
          <a:p>
            <a:pPr algn="ctr"/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/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3 </a:t>
            </a:r>
            <a:r>
              <a:rPr lang="en-US" sz="2800" b="1" dirty="0">
                <a:solidFill>
                  <a:schemeClr val="accent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0564728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CDB704-00B9-4D32-A0EE-26BAB73F36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88" y="380256"/>
            <a:ext cx="8229600" cy="1143000"/>
          </a:xfrm>
        </p:spPr>
        <p:txBody>
          <a:bodyPr/>
          <a:lstStyle/>
          <a:p>
            <a:r>
              <a:rPr lang="ru-RU" dirty="0"/>
              <a:t>ЗНАНИЕ ПРОЦЕДУР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AFCDFC-6D0A-4C2B-AA4E-0A2DB12003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70000" lnSpcReduction="20000"/>
          </a:bodyPr>
          <a:lstStyle/>
          <a:p>
            <a:pPr marL="0" indent="0"/>
            <a:r>
              <a:rPr lang="de-DE" sz="2400" dirty="0"/>
              <a:t>Be aware of the decision-making procedures. </a:t>
            </a:r>
          </a:p>
          <a:p>
            <a:pPr marL="0" indent="0"/>
            <a:r>
              <a:rPr lang="de-DE" sz="2400" dirty="0"/>
              <a:t>Know when the relevant decisions are to be taken...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A4819E-2BCD-4966-8249-6AC98EDEA6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13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85C79A2F-7105-463F-8E59-95C0898DDE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7502246"/>
              </p:ext>
            </p:extLst>
          </p:nvPr>
        </p:nvGraphicFramePr>
        <p:xfrm>
          <a:off x="0" y="1523256"/>
          <a:ext cx="9144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138F4740-1008-4DEE-9D01-AC31E2024CA0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bg1">
                    <a:lumMod val="90000"/>
                  </a:schemeClr>
                </a:solidFill>
              </a:rPr>
              <a:t>ШАГ</a:t>
            </a:r>
            <a:endParaRPr lang="en-US" sz="2800" b="1" dirty="0">
              <a:solidFill>
                <a:schemeClr val="bg1">
                  <a:lumMod val="90000"/>
                </a:schemeClr>
              </a:solidFill>
            </a:endParaRPr>
          </a:p>
          <a:p>
            <a:pPr algn="ctr"/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/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3 </a:t>
            </a:r>
            <a:r>
              <a:rPr lang="en-US" sz="2800" b="1" dirty="0">
                <a:solidFill>
                  <a:schemeClr val="accent1"/>
                </a:solidFill>
              </a:rPr>
              <a:t>4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81001" y="1158240"/>
            <a:ext cx="5882639" cy="923330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dirty="0"/>
              <a:t>Знание процедур принятия решений.</a:t>
            </a:r>
          </a:p>
          <a:p>
            <a:r>
              <a:rPr lang="ru-RU" dirty="0"/>
              <a:t>Знание когда соответствующие решения должны быть приняты..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8753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0CBEA1-F394-44CE-AB34-F7EAE460CA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14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19" name="Diamond 18">
            <a:extLst>
              <a:ext uri="{FF2B5EF4-FFF2-40B4-BE49-F238E27FC236}">
                <a16:creationId xmlns:a16="http://schemas.microsoft.com/office/drawing/2014/main" id="{DFE1FFDC-6584-40DB-AA1E-EF06EAA2010F}"/>
              </a:ext>
            </a:extLst>
          </p:cNvPr>
          <p:cNvSpPr/>
          <p:nvPr/>
        </p:nvSpPr>
        <p:spPr>
          <a:xfrm>
            <a:off x="2123727" y="980727"/>
            <a:ext cx="5167047" cy="5075925"/>
          </a:xfrm>
          <a:prstGeom prst="diamond">
            <a:avLst/>
          </a:prstGeom>
          <a:solidFill>
            <a:srgbClr val="5E8299"/>
          </a:solidFill>
          <a:ln>
            <a:solidFill>
              <a:srgbClr val="5E8299"/>
            </a:solidFill>
          </a:ln>
        </p:spPr>
        <p:style>
          <a:lnRef idx="0">
            <a:scrgbClr r="0" g="0" b="0"/>
          </a:lnRef>
          <a:fillRef idx="1">
            <a:scrgbClr r="0" g="0" b="0"/>
          </a:fillRef>
          <a:effectRef idx="2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A2E19FE-EC2A-4D11-95EA-ADF7897AE9DB}"/>
              </a:ext>
            </a:extLst>
          </p:cNvPr>
          <p:cNvGrpSpPr/>
          <p:nvPr/>
        </p:nvGrpSpPr>
        <p:grpSpPr>
          <a:xfrm>
            <a:off x="2369198" y="1318788"/>
            <a:ext cx="2297100" cy="2110212"/>
            <a:chOff x="2234539" y="465171"/>
            <a:chExt cx="1909652" cy="1909652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099E7B76-1067-45C3-9822-18050B676B8C}"/>
                </a:ext>
              </a:extLst>
            </p:cNvPr>
            <p:cNvSpPr/>
            <p:nvPr/>
          </p:nvSpPr>
          <p:spPr>
            <a:xfrm>
              <a:off x="2234539" y="465171"/>
              <a:ext cx="1909652" cy="1909652"/>
            </a:xfrm>
            <a:prstGeom prst="roundRect">
              <a:avLst/>
            </a:prstGeom>
            <a:solidFill>
              <a:srgbClr val="00558F"/>
            </a:solidFill>
            <a:ln>
              <a:solidFill>
                <a:srgbClr val="00558F"/>
              </a:solidFill>
            </a:ln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Rectangle: Rounded Corners 5">
              <a:extLst>
                <a:ext uri="{FF2B5EF4-FFF2-40B4-BE49-F238E27FC236}">
                  <a16:creationId xmlns:a16="http://schemas.microsoft.com/office/drawing/2014/main" id="{1656C870-BA3C-4CE8-84AE-94B8100224C7}"/>
                </a:ext>
              </a:extLst>
            </p:cNvPr>
            <p:cNvSpPr txBox="1"/>
            <p:nvPr/>
          </p:nvSpPr>
          <p:spPr>
            <a:xfrm>
              <a:off x="2327761" y="558393"/>
              <a:ext cx="1723208" cy="17232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dirty="0"/>
                <a:t>Помочь вам быть точным в сложной области</a:t>
              </a:r>
              <a:endParaRPr lang="en-US" sz="2000" kern="1200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C5B4068-4787-464C-B37D-CBFD590DFA6B}"/>
              </a:ext>
            </a:extLst>
          </p:cNvPr>
          <p:cNvGrpSpPr/>
          <p:nvPr/>
        </p:nvGrpSpPr>
        <p:grpSpPr>
          <a:xfrm>
            <a:off x="4645447" y="1389388"/>
            <a:ext cx="2230108" cy="2200643"/>
            <a:chOff x="4291088" y="465171"/>
            <a:chExt cx="1909652" cy="1909652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14DFC977-745D-470F-961C-0C5DB1D16E80}"/>
                </a:ext>
              </a:extLst>
            </p:cNvPr>
            <p:cNvSpPr/>
            <p:nvPr/>
          </p:nvSpPr>
          <p:spPr>
            <a:xfrm>
              <a:off x="4291088" y="465171"/>
              <a:ext cx="1909652" cy="1909652"/>
            </a:xfrm>
            <a:prstGeom prst="roundRect">
              <a:avLst/>
            </a:prstGeom>
            <a:solidFill>
              <a:srgbClr val="41A2AA"/>
            </a:solidFill>
            <a:ln>
              <a:solidFill>
                <a:srgbClr val="41A2AA"/>
              </a:solidFill>
            </a:ln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: Rounded Corners 7">
              <a:extLst>
                <a:ext uri="{FF2B5EF4-FFF2-40B4-BE49-F238E27FC236}">
                  <a16:creationId xmlns:a16="http://schemas.microsoft.com/office/drawing/2014/main" id="{6858E580-5632-45F8-AB96-E922F268E742}"/>
                </a:ext>
              </a:extLst>
            </p:cNvPr>
            <p:cNvSpPr txBox="1"/>
            <p:nvPr/>
          </p:nvSpPr>
          <p:spPr>
            <a:xfrm>
              <a:off x="4384310" y="558393"/>
              <a:ext cx="1723208" cy="17232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dirty="0"/>
                <a:t>Помочь вам быть </a:t>
              </a:r>
              <a:r>
                <a:rPr lang="en-US" dirty="0"/>
                <a:t>    </a:t>
              </a:r>
              <a:r>
                <a:rPr lang="ru-RU" dirty="0"/>
                <a:t>последовательными, а также повторять ключевые моменты</a:t>
              </a:r>
              <a:endParaRPr lang="en-US" kern="1200" dirty="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EF1C89E-BE37-4420-96EC-BAE1E7980B0E}"/>
              </a:ext>
            </a:extLst>
          </p:cNvPr>
          <p:cNvGrpSpPr/>
          <p:nvPr/>
        </p:nvGrpSpPr>
        <p:grpSpPr>
          <a:xfrm>
            <a:off x="2503534" y="3502448"/>
            <a:ext cx="2141914" cy="2163454"/>
            <a:chOff x="2234539" y="2521720"/>
            <a:chExt cx="1909652" cy="1909652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7234D63-FC2F-471E-B967-65842A24E905}"/>
                </a:ext>
              </a:extLst>
            </p:cNvPr>
            <p:cNvSpPr/>
            <p:nvPr/>
          </p:nvSpPr>
          <p:spPr>
            <a:xfrm>
              <a:off x="2234539" y="2521720"/>
              <a:ext cx="1909652" cy="1909652"/>
            </a:xfrm>
            <a:prstGeom prst="roundRect">
              <a:avLst/>
            </a:prstGeom>
            <a:solidFill>
              <a:srgbClr val="93D3FF"/>
            </a:solidFill>
            <a:ln>
              <a:solidFill>
                <a:srgbClr val="93D3FF"/>
              </a:solidFill>
            </a:ln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angle: Rounded Corners 9">
              <a:extLst>
                <a:ext uri="{FF2B5EF4-FFF2-40B4-BE49-F238E27FC236}">
                  <a16:creationId xmlns:a16="http://schemas.microsoft.com/office/drawing/2014/main" id="{4EFEE898-EC1A-4E54-9A2A-773DA9A8D460}"/>
                </a:ext>
              </a:extLst>
            </p:cNvPr>
            <p:cNvSpPr txBox="1"/>
            <p:nvPr/>
          </p:nvSpPr>
          <p:spPr>
            <a:xfrm>
              <a:off x="2327761" y="2614942"/>
              <a:ext cx="1723208" cy="17232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dirty="0">
                  <a:solidFill>
                    <a:srgbClr val="00558F"/>
                  </a:solidFill>
                </a:rPr>
                <a:t>Помогите укрепить и усилить их понимание</a:t>
              </a:r>
              <a:endParaRPr lang="en-US" sz="2000" kern="1200" dirty="0">
                <a:solidFill>
                  <a:srgbClr val="00558F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B8F74D3-1E7D-4BFB-B98C-2FD571C6B74F}"/>
              </a:ext>
            </a:extLst>
          </p:cNvPr>
          <p:cNvGrpSpPr/>
          <p:nvPr/>
        </p:nvGrpSpPr>
        <p:grpSpPr>
          <a:xfrm>
            <a:off x="4645447" y="3502447"/>
            <a:ext cx="2254533" cy="2102399"/>
            <a:chOff x="4291088" y="2521720"/>
            <a:chExt cx="1909652" cy="1909652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EA92C9C2-D3D9-42F7-9201-6E555A5655FC}"/>
                </a:ext>
              </a:extLst>
            </p:cNvPr>
            <p:cNvSpPr/>
            <p:nvPr/>
          </p:nvSpPr>
          <p:spPr>
            <a:xfrm>
              <a:off x="4291088" y="2521720"/>
              <a:ext cx="1909652" cy="1909652"/>
            </a:xfrm>
            <a:prstGeom prst="roundRect">
              <a:avLst/>
            </a:prstGeom>
            <a:solidFill>
              <a:srgbClr val="0055BD"/>
            </a:solidFill>
            <a:ln>
              <a:solidFill>
                <a:srgbClr val="0055BD"/>
              </a:solidFill>
            </a:ln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ectangle: Rounded Corners 11">
              <a:extLst>
                <a:ext uri="{FF2B5EF4-FFF2-40B4-BE49-F238E27FC236}">
                  <a16:creationId xmlns:a16="http://schemas.microsoft.com/office/drawing/2014/main" id="{309EFE27-9771-4761-9AC0-0FC962CCA5F9}"/>
                </a:ext>
              </a:extLst>
            </p:cNvPr>
            <p:cNvSpPr txBox="1"/>
            <p:nvPr/>
          </p:nvSpPr>
          <p:spPr>
            <a:xfrm>
              <a:off x="4384310" y="2614942"/>
              <a:ext cx="1723208" cy="17232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dirty="0"/>
                <a:t>Помочь вам справиться с трудными вопросами и задачами</a:t>
              </a:r>
              <a:endParaRPr lang="en-US" sz="2000" kern="1200" dirty="0"/>
            </a:p>
          </p:txBody>
        </p:sp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5023B068-160E-4C96-B625-96F3875578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66" y="310344"/>
            <a:ext cx="8229600" cy="1143000"/>
          </a:xfrm>
        </p:spPr>
        <p:txBody>
          <a:bodyPr/>
          <a:lstStyle/>
          <a:p>
            <a:r>
              <a:rPr lang="ru-RU" dirty="0"/>
              <a:t>РАЗРАБОТКА ПРОСТЫХ, ЯСНЫХ СООБЩЕНИЙ, КОТОРЫЕ СМОГУТ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C12AFA6-39CA-46EB-BC08-EF348FA7AE39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bg1">
                    <a:lumMod val="90000"/>
                  </a:schemeClr>
                </a:solidFill>
              </a:rPr>
              <a:t>ШАГ</a:t>
            </a:r>
            <a:endParaRPr lang="en-US" sz="2800" b="1" dirty="0">
              <a:solidFill>
                <a:schemeClr val="bg1">
                  <a:lumMod val="90000"/>
                </a:schemeClr>
              </a:solidFill>
            </a:endParaRPr>
          </a:p>
          <a:p>
            <a:pPr algn="ctr"/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/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3 </a:t>
            </a:r>
            <a:r>
              <a:rPr lang="en-US" sz="2800" b="1" dirty="0">
                <a:solidFill>
                  <a:schemeClr val="accent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2096659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E848EA-85CB-41BC-863E-301B156FDE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15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90BEAF-C7DB-4011-AD0F-FE794D6E23EC}"/>
              </a:ext>
            </a:extLst>
          </p:cNvPr>
          <p:cNvSpPr/>
          <p:nvPr/>
        </p:nvSpPr>
        <p:spPr>
          <a:xfrm>
            <a:off x="5880779" y="2417925"/>
            <a:ext cx="1983060" cy="205200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B8B9F91-709D-404B-87D2-73C3507A2D52}"/>
              </a:ext>
            </a:extLst>
          </p:cNvPr>
          <p:cNvSpPr/>
          <p:nvPr/>
        </p:nvSpPr>
        <p:spPr>
          <a:xfrm>
            <a:off x="467540" y="2385134"/>
            <a:ext cx="1983060" cy="205200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1EBD55B-F448-46C7-9B79-CB63DB38AD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АСПРОСТРАНЕНИЕ СООБЩЕНИЙ</a:t>
            </a:r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F94B291-951D-4D13-AE42-BB6E0A23CE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33444"/>
            <a:ext cx="8229600" cy="4475256"/>
          </a:xfrm>
        </p:spPr>
        <p:txBody>
          <a:bodyPr>
            <a:normAutofit/>
          </a:bodyPr>
          <a:lstStyle/>
          <a:p>
            <a:r>
              <a:rPr lang="ru-RU" dirty="0"/>
              <a:t>Сообщения имеют более мощное воздействие, если их передают не один, а несколько человек</a:t>
            </a:r>
          </a:p>
          <a:p>
            <a:endParaRPr lang="ru-RU" dirty="0"/>
          </a:p>
          <a:p>
            <a:r>
              <a:rPr lang="ru-RU" dirty="0"/>
              <a:t>Убедитесь, что ваши коллеги и ваши партнеры хорошо знакомы с сообщением</a:t>
            </a:r>
          </a:p>
          <a:p>
            <a:endParaRPr lang="ru-RU" dirty="0"/>
          </a:p>
          <a:p>
            <a:r>
              <a:rPr lang="ru-RU" dirty="0"/>
              <a:t>При скоординированном распространении сообщений вы избежите путаницы и потери доверия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22EB61C-4954-40F2-9899-69A34945B0B8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bg1">
                    <a:lumMod val="90000"/>
                  </a:schemeClr>
                </a:solidFill>
              </a:rPr>
              <a:t>ШАГ</a:t>
            </a:r>
            <a:endParaRPr lang="en-US" sz="2800" b="1" dirty="0">
              <a:solidFill>
                <a:schemeClr val="bg1">
                  <a:lumMod val="90000"/>
                </a:schemeClr>
              </a:solidFill>
            </a:endParaRPr>
          </a:p>
          <a:p>
            <a:pPr algn="ctr"/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/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3 </a:t>
            </a:r>
            <a:r>
              <a:rPr lang="en-US" sz="2800" b="1" dirty="0">
                <a:solidFill>
                  <a:schemeClr val="accent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4395056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95F11BE3-EBF1-4C53-A057-69DE82A091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0003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1">
            <a:extLst>
              <a:ext uri="{FF2B5EF4-FFF2-40B4-BE49-F238E27FC236}">
                <a16:creationId xmlns:a16="http://schemas.microsoft.com/office/drawing/2014/main" id="{24F85232-2D2B-4FD5-A76D-864F09A80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66" y="310344"/>
            <a:ext cx="8229600" cy="1143000"/>
          </a:xfrm>
        </p:spPr>
        <p:txBody>
          <a:bodyPr/>
          <a:lstStyle/>
          <a:p>
            <a:r>
              <a:rPr lang="ru-RU" dirty="0"/>
              <a:t>Контрольный лист</a:t>
            </a:r>
            <a:endParaRPr lang="en-US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0AE9A51-780E-4523-81A2-6C75017B305C}"/>
              </a:ext>
            </a:extLst>
          </p:cNvPr>
          <p:cNvGrpSpPr/>
          <p:nvPr/>
        </p:nvGrpSpPr>
        <p:grpSpPr>
          <a:xfrm>
            <a:off x="1333583" y="1003433"/>
            <a:ext cx="6881387" cy="5030365"/>
            <a:chOff x="1092283" y="965333"/>
            <a:chExt cx="6881387" cy="5030365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F9DDCF2-27D9-4E76-9886-DC051D7B27C7}"/>
                </a:ext>
              </a:extLst>
            </p:cNvPr>
            <p:cNvGrpSpPr/>
            <p:nvPr/>
          </p:nvGrpSpPr>
          <p:grpSpPr>
            <a:xfrm>
              <a:off x="1094129" y="1041232"/>
              <a:ext cx="6879541" cy="4954466"/>
              <a:chOff x="1106829" y="1523832"/>
              <a:chExt cx="6879541" cy="4954466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AC1B7900-9147-4FD6-8755-DE70F78CB6D9}"/>
                  </a:ext>
                </a:extLst>
              </p:cNvPr>
              <p:cNvGrpSpPr/>
              <p:nvPr/>
            </p:nvGrpSpPr>
            <p:grpSpPr>
              <a:xfrm>
                <a:off x="1521851" y="3232838"/>
                <a:ext cx="6464518" cy="696851"/>
                <a:chOff x="1835791" y="256"/>
                <a:chExt cx="6464518" cy="830041"/>
              </a:xfrm>
            </p:grpSpPr>
            <p:sp>
              <p:nvSpPr>
                <p:cNvPr id="20" name="Arrow: Pentagon 19">
                  <a:extLst>
                    <a:ext uri="{FF2B5EF4-FFF2-40B4-BE49-F238E27FC236}">
                      <a16:creationId xmlns:a16="http://schemas.microsoft.com/office/drawing/2014/main" id="{3AF4CE7B-861E-413E-A8B7-89EA66F2E415}"/>
                    </a:ext>
                  </a:extLst>
                </p:cNvPr>
                <p:cNvSpPr/>
                <p:nvPr/>
              </p:nvSpPr>
              <p:spPr>
                <a:xfrm rot="10800000">
                  <a:off x="1835791" y="25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" name="Arrow: Pentagon 4">
                  <a:extLst>
                    <a:ext uri="{FF2B5EF4-FFF2-40B4-BE49-F238E27FC236}">
                      <a16:creationId xmlns:a16="http://schemas.microsoft.com/office/drawing/2014/main" id="{5A07525A-9880-416D-800D-54CC7285F044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25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lvl="0" algn="ctr" defTabSz="9779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b="1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ПРИВОДИТЕ НАГЛЯДНЫЕ ДОКАЗАТЕЛЬСТВА </a:t>
                  </a:r>
                </a:p>
                <a:p>
                  <a:pPr lvl="0" algn="ctr" defTabSz="9779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b="1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Факты и данные, графики и иллюстрации</a:t>
                  </a:r>
                  <a:endParaRPr lang="en-US" kern="120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</p:txBody>
            </p:sp>
          </p:grpSp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BAEE4471-386B-4FFD-AD57-3C71F4E223D5}"/>
                  </a:ext>
                </a:extLst>
              </p:cNvPr>
              <p:cNvSpPr/>
              <p:nvPr/>
            </p:nvSpPr>
            <p:spPr>
              <a:xfrm>
                <a:off x="1106829" y="3169689"/>
                <a:ext cx="830041" cy="830041"/>
              </a:xfrm>
              <a:prstGeom prst="ellipse">
                <a:avLst/>
              </a:prstGeom>
              <a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DFECB4CB-3D25-4CFB-9DAF-95C782C69CBA}"/>
                  </a:ext>
                </a:extLst>
              </p:cNvPr>
              <p:cNvGrpSpPr/>
              <p:nvPr/>
            </p:nvGrpSpPr>
            <p:grpSpPr>
              <a:xfrm>
                <a:off x="1521851" y="4066326"/>
                <a:ext cx="6464518" cy="696851"/>
                <a:chOff x="1835791" y="1078071"/>
                <a:chExt cx="6464518" cy="830041"/>
              </a:xfrm>
            </p:grpSpPr>
            <p:sp>
              <p:nvSpPr>
                <p:cNvPr id="18" name="Arrow: Pentagon 17">
                  <a:extLst>
                    <a:ext uri="{FF2B5EF4-FFF2-40B4-BE49-F238E27FC236}">
                      <a16:creationId xmlns:a16="http://schemas.microsoft.com/office/drawing/2014/main" id="{BBD73959-BB56-4FF5-AFF2-CCFBB9E4ED40}"/>
                    </a:ext>
                  </a:extLst>
                </p:cNvPr>
                <p:cNvSpPr/>
                <p:nvPr/>
              </p:nvSpPr>
              <p:spPr>
                <a:xfrm rot="10800000">
                  <a:off x="1835791" y="1078071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" name="Arrow: Pentagon 7">
                  <a:extLst>
                    <a:ext uri="{FF2B5EF4-FFF2-40B4-BE49-F238E27FC236}">
                      <a16:creationId xmlns:a16="http://schemas.microsoft.com/office/drawing/2014/main" id="{7B739400-694C-4E32-BF24-09AFC8CE8574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1078071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lvl="0" algn="ctr" defTabSz="9779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b="1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ОБРАЩАЙТЕСЬ К ЭМОЦИЯМ</a:t>
                  </a:r>
                </a:p>
                <a:p>
                  <a:pPr lvl="0" algn="ctr" defTabSz="9779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b="1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Дети, будущее поколение</a:t>
                  </a:r>
                  <a:endParaRPr lang="en-US" kern="120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</p:txBody>
            </p:sp>
          </p:grp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466510C2-A205-4E36-87A8-42B6277AD797}"/>
                  </a:ext>
                </a:extLst>
              </p:cNvPr>
              <p:cNvSpPr/>
              <p:nvPr/>
            </p:nvSpPr>
            <p:spPr>
              <a:xfrm>
                <a:off x="1106829" y="4003283"/>
                <a:ext cx="830041" cy="830041"/>
              </a:xfrm>
              <a:prstGeom prst="ellipse">
                <a:avLst/>
              </a:prstGeom>
              <a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EDDAA18F-4DB2-4E07-BF2D-F14AC01C2577}"/>
                  </a:ext>
                </a:extLst>
              </p:cNvPr>
              <p:cNvGrpSpPr/>
              <p:nvPr/>
            </p:nvGrpSpPr>
            <p:grpSpPr>
              <a:xfrm>
                <a:off x="1521851" y="4896368"/>
                <a:ext cx="6464518" cy="696851"/>
                <a:chOff x="1835791" y="2155886"/>
                <a:chExt cx="6464518" cy="830041"/>
              </a:xfrm>
            </p:grpSpPr>
            <p:sp>
              <p:nvSpPr>
                <p:cNvPr id="16" name="Arrow: Pentagon 15">
                  <a:extLst>
                    <a:ext uri="{FF2B5EF4-FFF2-40B4-BE49-F238E27FC236}">
                      <a16:creationId xmlns:a16="http://schemas.microsoft.com/office/drawing/2014/main" id="{9AC340C4-C387-40C0-AA85-4CEE12C6FE65}"/>
                    </a:ext>
                  </a:extLst>
                </p:cNvPr>
                <p:cNvSpPr/>
                <p:nvPr/>
              </p:nvSpPr>
              <p:spPr>
                <a:xfrm rot="10800000">
                  <a:off x="1835791" y="215588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" name="Arrow: Pentagon 10">
                  <a:extLst>
                    <a:ext uri="{FF2B5EF4-FFF2-40B4-BE49-F238E27FC236}">
                      <a16:creationId xmlns:a16="http://schemas.microsoft.com/office/drawing/2014/main" id="{61090D9A-261F-4AEA-9A62-BB2C57531368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215588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lvl="0" algn="ctr" defTabSz="9779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sz="1600" b="1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СОЗДАВАЙТЕ МОТИВАЦИИ</a:t>
                  </a:r>
                </a:p>
                <a:p>
                  <a:pPr lvl="0" algn="ctr" defTabSz="9779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sz="1600" b="1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Как заинтересованные стороны могут получить выгоду от поддержки иммунизации</a:t>
                  </a:r>
                  <a:endParaRPr lang="en-US" sz="1600" kern="120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</p:txBody>
            </p:sp>
          </p:grp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141B1F4B-61CA-498D-85BE-D5EBBC17D340}"/>
                  </a:ext>
                </a:extLst>
              </p:cNvPr>
              <p:cNvSpPr/>
              <p:nvPr/>
            </p:nvSpPr>
            <p:spPr>
              <a:xfrm>
                <a:off x="1106831" y="4811562"/>
                <a:ext cx="830041" cy="830041"/>
              </a:xfrm>
              <a:prstGeom prst="ellipse">
                <a:avLst/>
              </a:prstGeom>
              <a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D5D04109-D4A4-40A4-9210-AC6487F9794D}"/>
                  </a:ext>
                </a:extLst>
              </p:cNvPr>
              <p:cNvGrpSpPr/>
              <p:nvPr/>
            </p:nvGrpSpPr>
            <p:grpSpPr>
              <a:xfrm>
                <a:off x="1521852" y="5726411"/>
                <a:ext cx="6464518" cy="696851"/>
                <a:chOff x="1835791" y="3233702"/>
                <a:chExt cx="6464518" cy="830041"/>
              </a:xfrm>
            </p:grpSpPr>
            <p:sp>
              <p:nvSpPr>
                <p:cNvPr id="14" name="Arrow: Pentagon 13">
                  <a:extLst>
                    <a:ext uri="{FF2B5EF4-FFF2-40B4-BE49-F238E27FC236}">
                      <a16:creationId xmlns:a16="http://schemas.microsoft.com/office/drawing/2014/main" id="{D3E74D45-03AD-4F2E-96A2-16F57789C4EF}"/>
                    </a:ext>
                  </a:extLst>
                </p:cNvPr>
                <p:cNvSpPr/>
                <p:nvPr/>
              </p:nvSpPr>
              <p:spPr>
                <a:xfrm rot="10800000">
                  <a:off x="1835791" y="3233702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" name="Arrow: Pentagon 13">
                  <a:extLst>
                    <a:ext uri="{FF2B5EF4-FFF2-40B4-BE49-F238E27FC236}">
                      <a16:creationId xmlns:a16="http://schemas.microsoft.com/office/drawing/2014/main" id="{69E23903-07BF-4DC3-9D3D-42077B5F43CE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3233702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lvl="0" algn="ctr" defTabSz="9779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b="1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ОБЪЯСНИТЕ  УГРОЗЫ И РИСКИ</a:t>
                  </a:r>
                </a:p>
                <a:p>
                  <a:pPr lvl="0" algn="ctr" defTabSz="9779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b="1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Последствия бездействия</a:t>
                  </a:r>
                  <a:endParaRPr lang="en-US" kern="1200" baseline="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</p:txBody>
            </p:sp>
          </p:grp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EC9647E9-05A7-4C8E-BED5-ABBC1B756B97}"/>
                  </a:ext>
                </a:extLst>
              </p:cNvPr>
              <p:cNvSpPr/>
              <p:nvPr/>
            </p:nvSpPr>
            <p:spPr>
              <a:xfrm>
                <a:off x="1106829" y="5648257"/>
                <a:ext cx="830041" cy="830041"/>
              </a:xfrm>
              <a:prstGeom prst="ellipse">
                <a:avLst/>
              </a:prstGeom>
              <a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074ED856-D85C-4B95-A2FB-67C457D552E3}"/>
                  </a:ext>
                </a:extLst>
              </p:cNvPr>
              <p:cNvGrpSpPr/>
              <p:nvPr/>
            </p:nvGrpSpPr>
            <p:grpSpPr>
              <a:xfrm>
                <a:off x="1521850" y="1523832"/>
                <a:ext cx="6464518" cy="696851"/>
                <a:chOff x="1835791" y="256"/>
                <a:chExt cx="6464518" cy="830041"/>
              </a:xfrm>
            </p:grpSpPr>
            <p:sp>
              <p:nvSpPr>
                <p:cNvPr id="24" name="Arrow: Pentagon 23">
                  <a:extLst>
                    <a:ext uri="{FF2B5EF4-FFF2-40B4-BE49-F238E27FC236}">
                      <a16:creationId xmlns:a16="http://schemas.microsoft.com/office/drawing/2014/main" id="{4E48F77B-1AC9-4332-B716-2B8152E95062}"/>
                    </a:ext>
                  </a:extLst>
                </p:cNvPr>
                <p:cNvSpPr/>
                <p:nvPr/>
              </p:nvSpPr>
              <p:spPr>
                <a:xfrm rot="10800000">
                  <a:off x="1835791" y="25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5" name="Arrow: Pentagon 4">
                  <a:extLst>
                    <a:ext uri="{FF2B5EF4-FFF2-40B4-BE49-F238E27FC236}">
                      <a16:creationId xmlns:a16="http://schemas.microsoft.com/office/drawing/2014/main" id="{BFA246DE-D7FC-44E9-9D7A-D905F280B823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25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lvl="0" algn="ctr" defTabSz="9779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b="1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НЕ УСЛОЖНЯЙТЕ ИХ</a:t>
                  </a:r>
                </a:p>
                <a:p>
                  <a:pPr lvl="0" algn="ctr" defTabSz="9779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b="1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Избегайте чрезмерной технической информации</a:t>
                  </a:r>
                  <a:endParaRPr lang="en-US" kern="120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</p:txBody>
            </p:sp>
          </p:grp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A59775B9-EFB2-428E-84D8-F3278D3D9527}"/>
                  </a:ext>
                </a:extLst>
              </p:cNvPr>
              <p:cNvGrpSpPr/>
              <p:nvPr/>
            </p:nvGrpSpPr>
            <p:grpSpPr>
              <a:xfrm>
                <a:off x="1521850" y="2399351"/>
                <a:ext cx="6464518" cy="696851"/>
                <a:chOff x="1835791" y="256"/>
                <a:chExt cx="6464518" cy="830041"/>
              </a:xfrm>
            </p:grpSpPr>
            <p:sp>
              <p:nvSpPr>
                <p:cNvPr id="27" name="Arrow: Pentagon 26">
                  <a:extLst>
                    <a:ext uri="{FF2B5EF4-FFF2-40B4-BE49-F238E27FC236}">
                      <a16:creationId xmlns:a16="http://schemas.microsoft.com/office/drawing/2014/main" id="{8B43E77A-4550-42CC-BFBF-B24B1FFF8EC2}"/>
                    </a:ext>
                  </a:extLst>
                </p:cNvPr>
                <p:cNvSpPr/>
                <p:nvPr/>
              </p:nvSpPr>
              <p:spPr>
                <a:xfrm rot="10800000">
                  <a:off x="1835791" y="25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" name="Arrow: Pentagon 4">
                  <a:extLst>
                    <a:ext uri="{FF2B5EF4-FFF2-40B4-BE49-F238E27FC236}">
                      <a16:creationId xmlns:a16="http://schemas.microsoft.com/office/drawing/2014/main" id="{12D242AF-F10F-49DD-8D0B-D3C3DE812A72}"/>
                    </a:ext>
                  </a:extLst>
                </p:cNvPr>
                <p:cNvSpPr txBox="1"/>
                <p:nvPr/>
              </p:nvSpPr>
              <p:spPr>
                <a:xfrm>
                  <a:off x="2043301" y="25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lvl="0" algn="ctr" defTabSz="9779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sz="1600" b="1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СТАРАЙТЕСЬ БЫТЬ АКТУАЛЬНЫМИ</a:t>
                  </a:r>
                </a:p>
                <a:p>
                  <a:pPr lvl="0" algn="ctr" defTabSz="9779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sz="1600" b="1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Обращайтесь к текущим проблемам и мотиваторам ваших заинтересованных сторон</a:t>
                  </a:r>
                  <a:endParaRPr lang="en-US" sz="1600" kern="120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</p:txBody>
            </p:sp>
          </p:grp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E4DE95B9-2C16-4FEB-8062-6AD1CEE4A2AC}"/>
                </a:ext>
              </a:extLst>
            </p:cNvPr>
            <p:cNvGrpSpPr/>
            <p:nvPr/>
          </p:nvGrpSpPr>
          <p:grpSpPr>
            <a:xfrm>
              <a:off x="1092283" y="965333"/>
              <a:ext cx="830043" cy="861563"/>
              <a:chOff x="432582" y="1141866"/>
              <a:chExt cx="830043" cy="861563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032E3851-801A-4AD5-AA6D-E06E4A89ABA7}"/>
                  </a:ext>
                </a:extLst>
              </p:cNvPr>
              <p:cNvSpPr/>
              <p:nvPr/>
            </p:nvSpPr>
            <p:spPr>
              <a:xfrm>
                <a:off x="432582" y="1141866"/>
                <a:ext cx="830043" cy="861563"/>
              </a:xfrm>
              <a:prstGeom prst="ellipse">
                <a:avLst/>
              </a:prstGeom>
              <a:solidFill>
                <a:srgbClr val="F7F7F7"/>
              </a:solidFill>
              <a:ln w="3175">
                <a:solidFill>
                  <a:srgbClr val="005EA4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30" name="Graphic 29" descr="Hourglass">
                <a:extLst>
                  <a:ext uri="{FF2B5EF4-FFF2-40B4-BE49-F238E27FC236}">
                    <a16:creationId xmlns:a16="http://schemas.microsoft.com/office/drawing/2014/main" id="{0A04798A-15AE-47EE-BC86-4B64278728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75717" y="1181138"/>
                <a:ext cx="734140" cy="778373"/>
              </a:xfrm>
              <a:prstGeom prst="rect">
                <a:avLst/>
              </a:prstGeom>
            </p:spPr>
          </p:pic>
        </p:grp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FECD2C34-D207-4D93-AFC0-5F8A75DC0F75}"/>
                </a:ext>
              </a:extLst>
            </p:cNvPr>
            <p:cNvSpPr/>
            <p:nvPr/>
          </p:nvSpPr>
          <p:spPr>
            <a:xfrm>
              <a:off x="1094127" y="1855065"/>
              <a:ext cx="830043" cy="813116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rgbClr val="005EA4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2" name="Graphic 31" descr="Puzzle">
              <a:extLst>
                <a:ext uri="{FF2B5EF4-FFF2-40B4-BE49-F238E27FC236}">
                  <a16:creationId xmlns:a16="http://schemas.microsoft.com/office/drawing/2014/main" id="{65348B45-6D02-4146-ADAE-3AC8931EAE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120411" y="1920677"/>
              <a:ext cx="764153" cy="7646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033884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6EDC56-08B2-47F1-84C1-0E55192D3D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В следующей презентации будут рассмотрены типы доказательств, которые могут быть использованы, в зависимости от вашей ситуации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378B06-76F6-48C3-AB18-04D566278D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4247" y="1953759"/>
            <a:ext cx="8442553" cy="3959361"/>
          </a:xfrm>
        </p:spPr>
        <p:txBody>
          <a:bodyPr>
            <a:noAutofit/>
          </a:bodyPr>
          <a:lstStyle/>
          <a:p>
            <a:pPr marL="0" indent="280988">
              <a:spcBef>
                <a:spcPts val="600"/>
              </a:spcBef>
              <a:spcAft>
                <a:spcPts val="600"/>
              </a:spcAft>
            </a:pPr>
            <a:r>
              <a:rPr lang="ru-RU" sz="1600" dirty="0"/>
              <a:t>Ваша программа нуждается в дополнительном финансировании на конкретные цели.</a:t>
            </a:r>
          </a:p>
          <a:p>
            <a:pPr marL="0" indent="280988">
              <a:spcBef>
                <a:spcPts val="600"/>
              </a:spcBef>
              <a:spcAft>
                <a:spcPts val="600"/>
              </a:spcAft>
            </a:pPr>
            <a:r>
              <a:rPr lang="ru-RU" sz="1600" dirty="0"/>
              <a:t>Министр здравоохранения попросил вас представить презентацию на межотраслевом совещании под председательством заместителя премьер-министра, на котором будут обсуждаться приоритеты правительства на следующие три года.</a:t>
            </a:r>
          </a:p>
          <a:p>
            <a:pPr marL="0" indent="280988">
              <a:spcBef>
                <a:spcPts val="600"/>
              </a:spcBef>
              <a:spcAft>
                <a:spcPts val="600"/>
              </a:spcAft>
            </a:pPr>
            <a:r>
              <a:rPr lang="ru-RU" sz="1600" dirty="0"/>
              <a:t>Отличная возможность представить цели и потребности вашей программы (все ключевые лица, принимающие решения, будут присутствовать на этом совещании, такие как Министерство планирования, Министерство финансов и другие).</a:t>
            </a:r>
          </a:p>
          <a:p>
            <a:pPr marL="0" indent="280988">
              <a:spcBef>
                <a:spcPts val="600"/>
              </a:spcBef>
              <a:spcAft>
                <a:spcPts val="600"/>
              </a:spcAft>
            </a:pPr>
            <a:r>
              <a:rPr lang="ru-RU" sz="1600" dirty="0"/>
              <a:t>На презентацию отводится 10 минут</a:t>
            </a:r>
            <a:r>
              <a:rPr lang="en-US" sz="1600" dirty="0"/>
              <a:t>.</a:t>
            </a:r>
            <a:endParaRPr lang="ru-RU" sz="1600" dirty="0"/>
          </a:p>
          <a:p>
            <a:pPr marL="0" indent="280988">
              <a:spcBef>
                <a:spcPts val="600"/>
              </a:spcBef>
              <a:spcAft>
                <a:spcPts val="600"/>
              </a:spcAft>
            </a:pPr>
            <a:r>
              <a:rPr lang="ru-RU" sz="1600" dirty="0"/>
              <a:t>Подготовьте презентацию (или ее схему), в которой будут указаны достижения, проблемы, будущие цели и потребности, с учетом типов ключевых сообщений, которые могут иметь успех у данной аудитории</a:t>
            </a:r>
            <a:r>
              <a:rPr lang="en-US" sz="1600" dirty="0"/>
              <a:t>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E5E7C1-1043-4D95-8A25-8249F10689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417638"/>
            <a:ext cx="8229600" cy="609600"/>
          </a:xfrm>
        </p:spPr>
        <p:txBody>
          <a:bodyPr/>
          <a:lstStyle/>
          <a:p>
            <a:r>
              <a:rPr lang="ru-RU" dirty="0"/>
              <a:t>Затем последует работа в группах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06E20F-3A59-4072-844F-CED5BF9E2D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17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410844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AD27D-CE1D-437A-9B3D-88C5FBC862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21396"/>
            <a:ext cx="8229600" cy="1143000"/>
          </a:xfrm>
        </p:spPr>
        <p:txBody>
          <a:bodyPr/>
          <a:lstStyle/>
          <a:p>
            <a:r>
              <a:rPr lang="ru-RU" dirty="0"/>
              <a:t>МОБИЛИЗАЦИЯ РЕСУРСОВ ДЛЯ ИММУНИЗАЦИИ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507E97-1C5F-4993-8FF9-5041369A4B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730297"/>
            <a:ext cx="8229600" cy="3053038"/>
          </a:xfrm>
        </p:spPr>
        <p:txBody>
          <a:bodyPr/>
          <a:lstStyle/>
          <a:p>
            <a:pPr marL="0" indent="0">
              <a:lnSpc>
                <a:spcPct val="120000"/>
              </a:lnSpc>
              <a:spcAft>
                <a:spcPts val="0"/>
              </a:spcAft>
              <a:buNone/>
            </a:pPr>
            <a:r>
              <a:rPr lang="ru-RU" dirty="0">
                <a:solidFill>
                  <a:schemeClr val="tx1"/>
                </a:solidFill>
              </a:rPr>
              <a:t>Усилия для получения или усиления поддержки от ключевых заинтересованных сторон и для влияния на общественную и медиа ситуацию с целью обеспечения долгосрочного и устойчивого финансирования программы иммунизации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48B0CA-75B7-48C0-A465-8CBEFD5F94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2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435829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009F50-CFC9-4E92-9CEA-F7985EFA69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2048"/>
            <a:ext cx="8229600" cy="1143000"/>
          </a:xfrm>
        </p:spPr>
        <p:txBody>
          <a:bodyPr/>
          <a:lstStyle/>
          <a:p>
            <a:r>
              <a:rPr lang="ru-RU" dirty="0"/>
              <a:t>ВАШИ ПОТРЕБНОСТИ ФИНАНСИРОВАНИЯ ИММУНИЗАЦИИ МОГУТ БЫТЬ: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E377FD-5AA3-4ED9-96BF-8099FDF557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575048"/>
            <a:ext cx="8229600" cy="3053038"/>
          </a:xfrm>
        </p:spPr>
        <p:txBody>
          <a:bodyPr>
            <a:normAutofit lnSpcReduction="10000"/>
          </a:bodyPr>
          <a:lstStyle/>
          <a:p>
            <a:r>
              <a:rPr lang="ru-RU" dirty="0"/>
              <a:t>Увеличение финансирования для</a:t>
            </a:r>
          </a:p>
          <a:p>
            <a:pPr lvl="1"/>
            <a:r>
              <a:rPr lang="ru-RU" dirty="0"/>
              <a:t>Введения новой вакцины</a:t>
            </a:r>
          </a:p>
          <a:p>
            <a:pPr lvl="1"/>
            <a:r>
              <a:rPr lang="ru-RU" dirty="0"/>
              <a:t>Растущей когорты новорожденных</a:t>
            </a:r>
          </a:p>
          <a:p>
            <a:pPr lvl="1"/>
            <a:r>
              <a:rPr lang="ru-RU" dirty="0"/>
              <a:t>Требования к переходу: быстрый рост софинансирования</a:t>
            </a:r>
          </a:p>
          <a:p>
            <a:pPr lvl="1"/>
            <a:r>
              <a:rPr lang="ru-RU" dirty="0"/>
              <a:t>Мер по улучшению охвата, достижения определенных подгрупп</a:t>
            </a:r>
          </a:p>
          <a:p>
            <a:pPr lvl="1"/>
            <a:r>
              <a:rPr lang="ru-RU" dirty="0"/>
              <a:t>Улучшения цепи поставок</a:t>
            </a:r>
          </a:p>
          <a:p>
            <a:endParaRPr lang="ru-RU" dirty="0"/>
          </a:p>
          <a:p>
            <a:r>
              <a:rPr lang="ru-RU" dirty="0"/>
              <a:t>Или  возможно вам потребуется пересматривать финансирование по прошествии определенного времени</a:t>
            </a: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742B49-E3E3-4FEC-9758-C4FB0DEFD5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3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1F2ED09-DA71-4AFB-80F0-4F5510252EB9}"/>
              </a:ext>
            </a:extLst>
          </p:cNvPr>
          <p:cNvSpPr txBox="1">
            <a:spLocks/>
          </p:cNvSpPr>
          <p:nvPr/>
        </p:nvSpPr>
        <p:spPr>
          <a:xfrm>
            <a:off x="107504" y="432048"/>
            <a:ext cx="9144000" cy="5486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Font typeface="Arial" pitchFamily="34" charset="0"/>
              <a:buNone/>
              <a:defRPr sz="2400" b="0" i="0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732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lede 5">
            <a:extLst>
              <a:ext uri="{FF2B5EF4-FFF2-40B4-BE49-F238E27FC236}">
                <a16:creationId xmlns:a16="http://schemas.microsoft.com/office/drawing/2014/main" id="{65B0E2C1-19BC-4863-866F-80533D4F46DC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71298" y="1233903"/>
            <a:ext cx="4879153" cy="556615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7494ACB-C3F9-4508-9A2E-F29DBD406952}"/>
              </a:ext>
            </a:extLst>
          </p:cNvPr>
          <p:cNvSpPr/>
          <p:nvPr/>
        </p:nvSpPr>
        <p:spPr>
          <a:xfrm>
            <a:off x="0" y="1218663"/>
            <a:ext cx="257403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000" b="1" dirty="0">
                <a:solidFill>
                  <a:schemeClr val="bg1"/>
                </a:solidFill>
              </a:rPr>
              <a:t>ШАГ </a:t>
            </a:r>
            <a:r>
              <a:rPr lang="en-US" sz="2000" b="1" dirty="0">
                <a:solidFill>
                  <a:schemeClr val="bg1"/>
                </a:solidFill>
              </a:rPr>
              <a:t>1: </a:t>
            </a:r>
            <a:r>
              <a:rPr lang="ru-RU" sz="2000" dirty="0">
                <a:solidFill>
                  <a:schemeClr val="bg1"/>
                </a:solidFill>
              </a:rPr>
              <a:t>Определите ваши потребности финансирования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83F4D61-C9CC-425D-8451-7EE0AB04EED5}"/>
              </a:ext>
            </a:extLst>
          </p:cNvPr>
          <p:cNvSpPr/>
          <p:nvPr/>
        </p:nvSpPr>
        <p:spPr>
          <a:xfrm>
            <a:off x="6781800" y="2349830"/>
            <a:ext cx="254508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</a:rPr>
              <a:t>ШАГ </a:t>
            </a:r>
            <a:r>
              <a:rPr lang="en-US" sz="2000" b="1" dirty="0">
                <a:solidFill>
                  <a:schemeClr val="bg1"/>
                </a:solidFill>
              </a:rPr>
              <a:t>2: </a:t>
            </a:r>
            <a:r>
              <a:rPr lang="ru-RU" sz="2000" dirty="0">
                <a:solidFill>
                  <a:schemeClr val="bg1"/>
                </a:solidFill>
              </a:rPr>
              <a:t>Определение заинтересованных сторон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D59833-1426-4B03-9C8D-7C3A81C09399}"/>
              </a:ext>
            </a:extLst>
          </p:cNvPr>
          <p:cNvSpPr/>
          <p:nvPr/>
        </p:nvSpPr>
        <p:spPr>
          <a:xfrm>
            <a:off x="146549" y="2628662"/>
            <a:ext cx="26670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</a:rPr>
              <a:t>ШАГ </a:t>
            </a:r>
            <a:r>
              <a:rPr lang="en-US" sz="2000" b="1" dirty="0">
                <a:solidFill>
                  <a:schemeClr val="bg1"/>
                </a:solidFill>
              </a:rPr>
              <a:t>3: </a:t>
            </a:r>
            <a:r>
              <a:rPr lang="ru-RU" sz="2000" dirty="0">
                <a:solidFill>
                  <a:schemeClr val="bg1"/>
                </a:solidFill>
              </a:rPr>
              <a:t>Понимание заинтересованных сторон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31E4304-8D45-460A-B9A8-94DB8AD98EB9}"/>
              </a:ext>
            </a:extLst>
          </p:cNvPr>
          <p:cNvSpPr/>
          <p:nvPr/>
        </p:nvSpPr>
        <p:spPr>
          <a:xfrm>
            <a:off x="6202760" y="4246414"/>
            <a:ext cx="2286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</a:rPr>
              <a:t>ШАГ </a:t>
            </a:r>
            <a:r>
              <a:rPr lang="en-US" sz="2000" b="1" dirty="0">
                <a:solidFill>
                  <a:schemeClr val="bg1"/>
                </a:solidFill>
              </a:rPr>
              <a:t>4: </a:t>
            </a:r>
            <a:r>
              <a:rPr lang="ru-RU" sz="2000" dirty="0">
                <a:solidFill>
                  <a:schemeClr val="bg1"/>
                </a:solidFill>
              </a:rPr>
              <a:t>Подтверждение необходимости инвестиций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38056B1-9B7A-4563-BCD4-4DD2A813A629}"/>
              </a:ext>
            </a:extLst>
          </p:cNvPr>
          <p:cNvSpPr/>
          <p:nvPr/>
        </p:nvSpPr>
        <p:spPr>
          <a:xfrm>
            <a:off x="572160" y="5867520"/>
            <a:ext cx="2286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ru-RU" sz="2000" b="1" dirty="0">
                <a:solidFill>
                  <a:schemeClr val="bg1"/>
                </a:solidFill>
              </a:rPr>
              <a:t>ШАГ </a:t>
            </a:r>
            <a:r>
              <a:rPr lang="en-US" sz="2000" b="1" dirty="0">
                <a:solidFill>
                  <a:schemeClr val="bg1"/>
                </a:solidFill>
              </a:rPr>
              <a:t>5: </a:t>
            </a:r>
            <a:r>
              <a:rPr lang="ru-RU" sz="2000" dirty="0">
                <a:solidFill>
                  <a:schemeClr val="bg1"/>
                </a:solidFill>
              </a:rPr>
              <a:t>Планирование мероприятий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0CFDEF6-5371-4BD8-A215-A773CC129C25}"/>
              </a:ext>
            </a:extLst>
          </p:cNvPr>
          <p:cNvSpPr/>
          <p:nvPr/>
        </p:nvSpPr>
        <p:spPr>
          <a:xfrm>
            <a:off x="-126836" y="1841500"/>
            <a:ext cx="9550236" cy="393700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642A7D4-C588-4D9B-B5C3-6BA3D7F0E3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160" y="510317"/>
            <a:ext cx="8229600" cy="577047"/>
          </a:xfrm>
        </p:spPr>
        <p:txBody>
          <a:bodyPr>
            <a:normAutofit fontScale="90000"/>
          </a:bodyPr>
          <a:lstStyle/>
          <a:p>
            <a:r>
              <a:rPr lang="ru-RU" dirty="0"/>
              <a:t>ПОШАГОВЫЙ ПОДХОД К МОБИЛИЗАЦИИ РЕСУРСОВ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0642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9917E-AAB5-4F3D-84DE-E20DB86681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лючевые вопросы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74E79F-2F58-485E-ABF4-BD3ACAA895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5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EB6B674B-7657-411F-A5DF-EAFB36D129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4248005"/>
              </p:ext>
            </p:extLst>
          </p:nvPr>
        </p:nvGraphicFramePr>
        <p:xfrm>
          <a:off x="-156132" y="622301"/>
          <a:ext cx="7585632" cy="5568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77786BE-34E2-47B4-AA69-A8C629BD1682}"/>
              </a:ext>
            </a:extLst>
          </p:cNvPr>
          <p:cNvSpPr txBox="1"/>
          <p:nvPr/>
        </p:nvSpPr>
        <p:spPr>
          <a:xfrm>
            <a:off x="6172161" y="1025805"/>
            <a:ext cx="3169959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00" b="1" dirty="0"/>
              <a:t>4. Как вы можете обосновать необходимость инвестиции на базе того, что вы знаете о заинтересованных сторонах?</a:t>
            </a:r>
            <a:endParaRPr lang="en-US" sz="1900" b="1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5660EC-90C3-41CA-839F-B030279E8772}"/>
              </a:ext>
            </a:extLst>
          </p:cNvPr>
          <p:cNvSpPr txBox="1"/>
          <p:nvPr/>
        </p:nvSpPr>
        <p:spPr>
          <a:xfrm>
            <a:off x="2707342" y="3521668"/>
            <a:ext cx="5022850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900" b="1" dirty="0"/>
              <a:t>3. Как вы можете убедиться, что ваш запрос не вызывает удивления у лиц, принимающих решения?</a:t>
            </a:r>
            <a:endParaRPr lang="en-US" sz="1900" b="1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5C389F8-10C2-460C-8EF5-BC4C3B895F43}"/>
              </a:ext>
            </a:extLst>
          </p:cNvPr>
          <p:cNvSpPr txBox="1"/>
          <p:nvPr/>
        </p:nvSpPr>
        <p:spPr>
          <a:xfrm>
            <a:off x="1718984" y="4491164"/>
            <a:ext cx="656571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00" b="1" dirty="0"/>
              <a:t>2. Как вы можете повлиять на программу иммунизации?</a:t>
            </a:r>
            <a:endParaRPr lang="en-US" sz="1900" b="1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40DB7C5-8B77-4D1B-BE29-40DFEFC82BEF}"/>
              </a:ext>
            </a:extLst>
          </p:cNvPr>
          <p:cNvSpPr txBox="1"/>
          <p:nvPr/>
        </p:nvSpPr>
        <p:spPr>
          <a:xfrm>
            <a:off x="1003300" y="5205175"/>
            <a:ext cx="54864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00" b="1" dirty="0"/>
              <a:t>1. </a:t>
            </a:r>
            <a:r>
              <a:rPr lang="ru-RU" sz="1900" b="1" dirty="0"/>
              <a:t>Кто может вас поддерживать</a:t>
            </a:r>
            <a:r>
              <a:rPr lang="en-US" sz="1900" b="1" dirty="0"/>
              <a:t>?</a:t>
            </a:r>
          </a:p>
          <a:p>
            <a:endParaRPr lang="en-US" sz="1900" b="1" dirty="0"/>
          </a:p>
        </p:txBody>
      </p:sp>
    </p:spTree>
    <p:extLst>
      <p:ext uri="{BB962C8B-B14F-4D97-AF65-F5344CB8AC3E}">
        <p14:creationId xmlns:p14="http://schemas.microsoft.com/office/powerpoint/2010/main" val="24035052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9917E-AAB5-4F3D-84DE-E20DB8668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4338"/>
            <a:ext cx="8229600" cy="1143000"/>
          </a:xfrm>
        </p:spPr>
        <p:txBody>
          <a:bodyPr/>
          <a:lstStyle/>
          <a:p>
            <a:r>
              <a:rPr lang="ru-RU" dirty="0"/>
              <a:t>ОПРЕДЕЛИТЕ СВОИ ПОТРЕБНОСТИ В ФИНАНСИРОВАНИИ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D94D24-B6F2-4F7A-97B0-C361958149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043362"/>
          </a:xfrm>
        </p:spPr>
        <p:txBody>
          <a:bodyPr>
            <a:normAutofit/>
          </a:bodyPr>
          <a:lstStyle/>
          <a:p>
            <a:r>
              <a:rPr lang="ru-RU" sz="2400" dirty="0"/>
              <a:t>Какие мероприятия необходимы для достижения вашей цели?</a:t>
            </a:r>
          </a:p>
          <a:p>
            <a:endParaRPr lang="ru-RU" sz="2400" dirty="0"/>
          </a:p>
          <a:p>
            <a:r>
              <a:rPr lang="ru-RU" sz="2400" dirty="0"/>
              <a:t>Какова стоимость каждого мероприятия?</a:t>
            </a:r>
          </a:p>
          <a:p>
            <a:endParaRPr lang="ru-RU" sz="2400" dirty="0"/>
          </a:p>
          <a:p>
            <a:r>
              <a:rPr lang="ru-RU" sz="2400" dirty="0"/>
              <a:t>Какова общая сумма требуемых ресурсов (по категориям затрат)?</a:t>
            </a:r>
          </a:p>
          <a:p>
            <a:endParaRPr lang="ru-RU" sz="2400" dirty="0"/>
          </a:p>
          <a:p>
            <a:r>
              <a:rPr lang="ru-RU" sz="2400" dirty="0"/>
              <a:t>Какое финансирование доступно для вас?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74E79F-2F58-485E-ABF4-BD3ACAA895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6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F70AA3-A783-45C5-9F67-DE683340C1DA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bg1">
                    <a:lumMod val="90000"/>
                  </a:schemeClr>
                </a:solidFill>
              </a:rPr>
              <a:t>ШАГ</a:t>
            </a:r>
            <a:endParaRPr lang="en-US" sz="2800" b="1" dirty="0">
              <a:solidFill>
                <a:schemeClr val="bg1">
                  <a:lumMod val="90000"/>
                </a:schemeClr>
              </a:solidFill>
            </a:endParaRPr>
          </a:p>
          <a:p>
            <a:pPr algn="ctr"/>
            <a:r>
              <a:rPr lang="en-US" sz="2800" b="1" dirty="0">
                <a:solidFill>
                  <a:schemeClr val="accent1"/>
                </a:solidFill>
              </a:rPr>
              <a:t>1</a:t>
            </a:r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 2</a:t>
            </a:r>
          </a:p>
          <a:p>
            <a:pPr algn="ctr"/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3 4</a:t>
            </a:r>
          </a:p>
        </p:txBody>
      </p:sp>
    </p:spTree>
    <p:extLst>
      <p:ext uri="{BB962C8B-B14F-4D97-AF65-F5344CB8AC3E}">
        <p14:creationId xmlns:p14="http://schemas.microsoft.com/office/powerpoint/2010/main" val="24565349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DF3A7F-EBD1-43B6-A859-97FF683492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42200" cy="1052357"/>
          </a:xfrm>
        </p:spPr>
        <p:txBody>
          <a:bodyPr/>
          <a:lstStyle/>
          <a:p>
            <a:r>
              <a:rPr lang="ru-RU" dirty="0"/>
              <a:t>ИДЕНТИФИКАЦИЯ ЗАИНТЕРЕСОВАННЫХ СТОРОН И ЛИЦ, ПРИНИМАЮЩИХ РЕШЕНИЯ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5E7F93-C4E0-4FBC-836C-55C4D99B6F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7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DF2825E9-1928-41FC-B8FA-A0C26FFAF0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36510313"/>
              </p:ext>
            </p:extLst>
          </p:nvPr>
        </p:nvGraphicFramePr>
        <p:xfrm>
          <a:off x="-2043784" y="862212"/>
          <a:ext cx="11737304" cy="53285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C83C3456-B475-4459-8BAC-77C8C824E89C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bg1">
                    <a:lumMod val="90000"/>
                  </a:schemeClr>
                </a:solidFill>
              </a:rPr>
              <a:t>ШАГ</a:t>
            </a:r>
            <a:endParaRPr lang="en-US" sz="2800" b="1" dirty="0">
              <a:solidFill>
                <a:schemeClr val="bg1">
                  <a:lumMod val="90000"/>
                </a:schemeClr>
              </a:solidFill>
            </a:endParaRPr>
          </a:p>
          <a:p>
            <a:pPr algn="ctr"/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1</a:t>
            </a:r>
            <a:r>
              <a:rPr lang="en-US" sz="2800" b="1" dirty="0">
                <a:solidFill>
                  <a:schemeClr val="accent1"/>
                </a:solidFill>
              </a:rPr>
              <a:t> 2</a:t>
            </a:r>
          </a:p>
          <a:p>
            <a:pPr algn="ctr"/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3 4</a:t>
            </a:r>
          </a:p>
        </p:txBody>
      </p:sp>
    </p:spTree>
    <p:extLst>
      <p:ext uri="{BB962C8B-B14F-4D97-AF65-F5344CB8AC3E}">
        <p14:creationId xmlns:p14="http://schemas.microsoft.com/office/powerpoint/2010/main" val="4336129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CA8031-DECC-41A0-9F03-ACD1F4FC01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8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46A8C97-0B95-40C4-8866-0E20C4B43E6D}"/>
              </a:ext>
            </a:extLst>
          </p:cNvPr>
          <p:cNvSpPr/>
          <p:nvPr/>
        </p:nvSpPr>
        <p:spPr>
          <a:xfrm>
            <a:off x="3419872" y="2996952"/>
            <a:ext cx="2081768" cy="1944173"/>
          </a:xfrm>
          <a:prstGeom prst="ellipse">
            <a:avLst/>
          </a:prstGeom>
          <a:solidFill>
            <a:srgbClr val="00558F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dirty="0">
                <a:solidFill>
                  <a:srgbClr val="1F497D"/>
                </a:solidFill>
                <a:latin typeface="Arial"/>
                <a:cs typeface="Arial"/>
              </a:rPr>
              <a:t>Лица, принимающие решения</a:t>
            </a:r>
            <a:endParaRPr lang="en-US" sz="1500" dirty="0">
              <a:solidFill>
                <a:srgbClr val="1F497D"/>
              </a:solidFill>
              <a:latin typeface="Arial"/>
              <a:cs typeface="Arial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5D5AA4F-1713-4646-8AB5-C1EBBBCD3D0A}"/>
              </a:ext>
            </a:extLst>
          </p:cNvPr>
          <p:cNvSpPr/>
          <p:nvPr/>
        </p:nvSpPr>
        <p:spPr>
          <a:xfrm>
            <a:off x="2843808" y="4077072"/>
            <a:ext cx="1728189" cy="1728175"/>
          </a:xfrm>
          <a:prstGeom prst="ellipse">
            <a:avLst/>
          </a:prstGeom>
          <a:solidFill>
            <a:srgbClr val="5E8299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dirty="0">
                <a:solidFill>
                  <a:srgbClr val="1F497D"/>
                </a:solidFill>
                <a:latin typeface="Arial"/>
                <a:cs typeface="Arial"/>
              </a:rPr>
              <a:t>Государственные служащие</a:t>
            </a:r>
            <a:endParaRPr lang="en-US" sz="1500" dirty="0">
              <a:solidFill>
                <a:srgbClr val="1F497D"/>
              </a:solidFill>
              <a:latin typeface="Arial"/>
              <a:cs typeface="Arial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D7DA051-E294-4546-B354-711A5FB0AAA8}"/>
              </a:ext>
            </a:extLst>
          </p:cNvPr>
          <p:cNvSpPr/>
          <p:nvPr/>
        </p:nvSpPr>
        <p:spPr>
          <a:xfrm>
            <a:off x="5004048" y="2492896"/>
            <a:ext cx="1800208" cy="1800191"/>
          </a:xfrm>
          <a:prstGeom prst="ellipse">
            <a:avLst/>
          </a:prstGeom>
          <a:solidFill>
            <a:srgbClr val="C00000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dirty="0">
                <a:solidFill>
                  <a:srgbClr val="1F497D"/>
                </a:solidFill>
                <a:latin typeface="Arial"/>
                <a:cs typeface="Arial"/>
              </a:rPr>
              <a:t>СМИ</a:t>
            </a:r>
            <a:endParaRPr lang="en-US" sz="1500" dirty="0">
              <a:solidFill>
                <a:srgbClr val="1F497D"/>
              </a:solidFill>
              <a:latin typeface="Arial"/>
              <a:cs typeface="Arial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F7A833B-495F-4328-AFA0-C3750845935C}"/>
              </a:ext>
            </a:extLst>
          </p:cNvPr>
          <p:cNvSpPr/>
          <p:nvPr/>
        </p:nvSpPr>
        <p:spPr>
          <a:xfrm>
            <a:off x="3923928" y="1556792"/>
            <a:ext cx="1728189" cy="1728175"/>
          </a:xfrm>
          <a:prstGeom prst="ellipse">
            <a:avLst/>
          </a:prstGeom>
          <a:solidFill>
            <a:srgbClr val="93D3FF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dirty="0">
                <a:solidFill>
                  <a:srgbClr val="1F497D"/>
                </a:solidFill>
                <a:latin typeface="Arial"/>
                <a:cs typeface="Arial"/>
              </a:rPr>
              <a:t>Парламент</a:t>
            </a:r>
            <a:endParaRPr lang="en-US" sz="1500" dirty="0">
              <a:solidFill>
                <a:srgbClr val="1F497D"/>
              </a:solidFill>
              <a:latin typeface="Arial"/>
              <a:cs typeface="Arial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6214415-C200-4F4D-820C-546843CD05E1}"/>
              </a:ext>
            </a:extLst>
          </p:cNvPr>
          <p:cNvSpPr/>
          <p:nvPr/>
        </p:nvSpPr>
        <p:spPr>
          <a:xfrm>
            <a:off x="1979712" y="3356992"/>
            <a:ext cx="1656190" cy="1656175"/>
          </a:xfrm>
          <a:prstGeom prst="ellipse">
            <a:avLst/>
          </a:prstGeom>
          <a:solidFill>
            <a:srgbClr val="41A2AA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dirty="0">
                <a:solidFill>
                  <a:srgbClr val="1F497D"/>
                </a:solidFill>
                <a:latin typeface="Arial"/>
                <a:cs typeface="Arial"/>
              </a:rPr>
              <a:t>Эксперты</a:t>
            </a:r>
            <a:endParaRPr lang="en-US" sz="1500" dirty="0">
              <a:solidFill>
                <a:srgbClr val="1F497D"/>
              </a:solidFill>
              <a:latin typeface="Arial"/>
              <a:cs typeface="Arial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D1F9F7E-450C-492F-9D08-85204C73BEE6}"/>
              </a:ext>
            </a:extLst>
          </p:cNvPr>
          <p:cNvSpPr/>
          <p:nvPr/>
        </p:nvSpPr>
        <p:spPr>
          <a:xfrm>
            <a:off x="2195736" y="2060848"/>
            <a:ext cx="1656190" cy="1656175"/>
          </a:xfrm>
          <a:prstGeom prst="ellipse">
            <a:avLst/>
          </a:prstGeom>
          <a:solidFill>
            <a:srgbClr val="0055BD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dirty="0">
                <a:solidFill>
                  <a:srgbClr val="1F497D"/>
                </a:solidFill>
                <a:latin typeface="Arial"/>
                <a:cs typeface="Arial"/>
              </a:rPr>
              <a:t>Комитеты</a:t>
            </a:r>
            <a:endParaRPr lang="en-US" sz="1500" dirty="0">
              <a:solidFill>
                <a:srgbClr val="1F497D"/>
              </a:solidFill>
              <a:latin typeface="Arial"/>
              <a:cs typeface="Arial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719E0DF-1E1C-4872-9B33-EF12A3845C90}"/>
              </a:ext>
            </a:extLst>
          </p:cNvPr>
          <p:cNvSpPr/>
          <p:nvPr/>
        </p:nvSpPr>
        <p:spPr>
          <a:xfrm>
            <a:off x="5364088" y="3789040"/>
            <a:ext cx="1728189" cy="1728175"/>
          </a:xfrm>
          <a:prstGeom prst="ellipse">
            <a:avLst/>
          </a:prstGeom>
          <a:solidFill>
            <a:srgbClr val="5E8299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dirty="0">
                <a:solidFill>
                  <a:srgbClr val="1F497D"/>
                </a:solidFill>
                <a:latin typeface="Arial"/>
                <a:cs typeface="Arial"/>
              </a:rPr>
              <a:t>Лидеры общественного мнения</a:t>
            </a:r>
            <a:endParaRPr lang="en-US" sz="1500" dirty="0">
              <a:solidFill>
                <a:srgbClr val="1F497D"/>
              </a:solidFill>
              <a:latin typeface="Arial"/>
              <a:cs typeface="Arial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B6CECF6-CA26-4D0F-BCF8-58BB015B47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66" y="310344"/>
            <a:ext cx="7571434" cy="1143000"/>
          </a:xfrm>
        </p:spPr>
        <p:txBody>
          <a:bodyPr>
            <a:normAutofit fontScale="90000"/>
          </a:bodyPr>
          <a:lstStyle/>
          <a:p>
            <a:r>
              <a:rPr lang="ru-RU" dirty="0"/>
              <a:t>РАССМОТРЕНИЕ ЗАИНТЕРЕСОВАННЫХ СТОРОН С ПРЯМЫМ И КОСВЕННЫМ ВЛИЯНИЕМ НА ФИНАНСИРОВАНИЕ ИММУНИЗАЦИИ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D5B22E-C2CB-4F9A-A2F1-52FC098B2068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bg1">
                    <a:lumMod val="90000"/>
                  </a:schemeClr>
                </a:solidFill>
              </a:rPr>
              <a:t>ШАГ</a:t>
            </a:r>
            <a:endParaRPr lang="en-US" sz="2800" b="1" dirty="0">
              <a:solidFill>
                <a:schemeClr val="bg1">
                  <a:lumMod val="90000"/>
                </a:schemeClr>
              </a:solidFill>
            </a:endParaRPr>
          </a:p>
          <a:p>
            <a:pPr algn="ctr"/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/>
            <a:r>
              <a:rPr lang="en-US" sz="2800" b="1" dirty="0">
                <a:solidFill>
                  <a:schemeClr val="accent1"/>
                </a:solidFill>
              </a:rPr>
              <a:t>3</a:t>
            </a:r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 4</a:t>
            </a:r>
          </a:p>
        </p:txBody>
      </p:sp>
    </p:spTree>
    <p:extLst>
      <p:ext uri="{BB962C8B-B14F-4D97-AF65-F5344CB8AC3E}">
        <p14:creationId xmlns:p14="http://schemas.microsoft.com/office/powerpoint/2010/main" val="35925797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D71B08-44EB-4E95-9F40-69584960D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29500" cy="1143000"/>
          </a:xfrm>
        </p:spPr>
        <p:txBody>
          <a:bodyPr>
            <a:normAutofit/>
          </a:bodyPr>
          <a:lstStyle/>
          <a:p>
            <a:r>
              <a:rPr lang="ru-RU" dirty="0"/>
              <a:t>ЕЖЕДНЕВНАЯ ДЕЯТЕЛЬНОСТЬ ЛИЦ, ПРИНИМАЮЩИХ РЕШЕНИЯ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006EE7-ED94-46AF-811F-FA6F7D78FF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9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90A3E98F-B60C-420C-9997-11E8A0A168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44162237"/>
              </p:ext>
            </p:extLst>
          </p:nvPr>
        </p:nvGraphicFramePr>
        <p:xfrm>
          <a:off x="457200" y="1594925"/>
          <a:ext cx="8229600" cy="42360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518CE077-2D11-4CF8-B8A7-6251CEE8C40F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bg1">
                    <a:lumMod val="90000"/>
                  </a:schemeClr>
                </a:solidFill>
              </a:rPr>
              <a:t>ШАГ</a:t>
            </a:r>
            <a:endParaRPr lang="en-US" sz="2800" b="1" dirty="0">
              <a:solidFill>
                <a:schemeClr val="bg1">
                  <a:lumMod val="90000"/>
                </a:schemeClr>
              </a:solidFill>
            </a:endParaRPr>
          </a:p>
          <a:p>
            <a:pPr algn="ctr"/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/>
            <a:r>
              <a:rPr lang="en-US" sz="2800" b="1" dirty="0">
                <a:solidFill>
                  <a:schemeClr val="accent1"/>
                </a:solidFill>
              </a:rPr>
              <a:t>3</a:t>
            </a:r>
            <a:r>
              <a:rPr lang="en-US" sz="2800" b="1" dirty="0">
                <a:solidFill>
                  <a:schemeClr val="bg1">
                    <a:lumMod val="90000"/>
                  </a:schemeClr>
                </a:solidFill>
              </a:rPr>
              <a:t> 4</a:t>
            </a:r>
          </a:p>
        </p:txBody>
      </p:sp>
    </p:spTree>
    <p:extLst>
      <p:ext uri="{BB962C8B-B14F-4D97-AF65-F5344CB8AC3E}">
        <p14:creationId xmlns:p14="http://schemas.microsoft.com/office/powerpoint/2010/main" val="32590845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D1DF2435BB006A4EB48DC2F170205CA1" ma:contentTypeVersion="4" ma:contentTypeDescription="Create a new document." ma:contentTypeScope="" ma:versionID="4ceb07d3f29f4f75ed2a9e5554d44026">
  <xsd:schema xmlns:xsd="http://www.w3.org/2001/XMLSchema" xmlns:xs="http://www.w3.org/2001/XMLSchema" xmlns:p="http://schemas.microsoft.com/office/2006/metadata/properties" xmlns:ns2="2af4539b-39f3-4771-ac1a-16de5a20c394" targetNamespace="http://schemas.microsoft.com/office/2006/metadata/properties" ma:root="true" ma:fieldsID="0738113eb48008679cdea5f3923427d1" ns2:_="">
    <xsd:import namespace="2af4539b-39f3-4771-ac1a-16de5a20c394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-1;#Communications|d8600aaf-13ee-4a11-996f-f272b3ac4916" ma:fieldId="{4d16009d-c514-44af-92aa-78db77815af5}" ma:taxonomyMulti="true" ma:sspId="99a65aa6-ac8d-46e4-9aa8-b40f8e8101fc" ma:termSetId="a91bfab0-4954-4226-aefc-bfb92684985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description="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kd16009dc51444af92aa78db77815af5 xmlns="2af4539b-39f3-4771-ac1a-16de5a20c39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d8600aaf-13ee-4a11-996f-f272b3ac4916</TermId>
        </TermInfo>
      </Terms>
    </kd16009dc51444af92aa78db77815af5>
    <TaxCatchAll xmlns="2af4539b-39f3-4771-ac1a-16de5a20c394">
      <Value>8</Value>
    </TaxCatchAll>
  </documentManagement>
</p:properties>
</file>

<file path=customXml/itemProps1.xml><?xml version="1.0" encoding="utf-8"?>
<ds:datastoreItem xmlns:ds="http://schemas.openxmlformats.org/officeDocument/2006/customXml" ds:itemID="{CB09E880-9EA9-4D12-BE04-9D0443764B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af4539b-39f3-4771-ac1a-16de5a20c3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22DF4FB-3862-44CE-9A6B-693D610474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8F70BE-E4CC-4D73-8BA0-08FE658F0A94}">
  <ds:schemaRefs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terms/"/>
    <ds:schemaRef ds:uri="2af4539b-39f3-4771-ac1a-16de5a20c394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62</TotalTime>
  <Words>959</Words>
  <Application>Microsoft Office PowerPoint</Application>
  <PresentationFormat>On-screen Show (4:3)</PresentationFormat>
  <Paragraphs>159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Calibri</vt:lpstr>
      <vt:lpstr>Museo Sans 300</vt:lpstr>
      <vt:lpstr>Museo Slab 300</vt:lpstr>
      <vt:lpstr>Wingdings</vt:lpstr>
      <vt:lpstr>R4D_StandardTemplate_MAC</vt:lpstr>
      <vt:lpstr>think-cell Slide</vt:lpstr>
      <vt:lpstr>Почему инвестиции в иммунизацию являются приоритетом для нашей страны?</vt:lpstr>
      <vt:lpstr>МОБИЛИЗАЦИЯ РЕСУРСОВ ДЛЯ ИММУНИЗАЦИИ</vt:lpstr>
      <vt:lpstr>ВАШИ ПОТРЕБНОСТИ ФИНАНСИРОВАНИЯ ИММУНИЗАЦИИ МОГУТ БЫТЬ:</vt:lpstr>
      <vt:lpstr>ПОШАГОВЫЙ ПОДХОД К МОБИЛИЗАЦИИ РЕСУРСОВ </vt:lpstr>
      <vt:lpstr>Ключевые вопросы</vt:lpstr>
      <vt:lpstr>ОПРЕДЕЛИТЕ СВОИ ПОТРЕБНОСТИ В ФИНАНСИРОВАНИИ</vt:lpstr>
      <vt:lpstr>ИДЕНТИФИКАЦИЯ ЗАИНТЕРЕСОВАННЫХ СТОРОН И ЛИЦ, ПРИНИМАЮЩИХ РЕШЕНИЯ</vt:lpstr>
      <vt:lpstr>РАССМОТРЕНИЕ ЗАИНТЕРЕСОВАННЫХ СТОРОН С ПРЯМЫМ И КОСВЕННЫМ ВЛИЯНИЕМ НА ФИНАНСИРОВАНИЕ ИММУНИЗАЦИИ</vt:lpstr>
      <vt:lpstr>ЕЖЕДНЕВНАЯ ДЕЯТЕЛЬНОСТЬ ЛИЦ, ПРИНИМАЮЩИХ РЕШЕНИЯ</vt:lpstr>
      <vt:lpstr>ДВЕ ВАЖНЫХ КОНЦЕПЦИИ ДЛЯ ЛИЦ, ПРИНИМАЮЩИХ РЕШЕНИЯ</vt:lpstr>
      <vt:lpstr>ИММУНИЗАЦИЯ МОЖЕТ БЫТЬ ...</vt:lpstr>
      <vt:lpstr>БЫТЬ ГОТОВЫМИ ДЛЯ РАБОТЫ НАД ...</vt:lpstr>
      <vt:lpstr>ЗНАНИЕ ПРОЦЕДУР</vt:lpstr>
      <vt:lpstr>РАЗРАБОТКА ПРОСТЫХ, ЯСНЫХ СООБЩЕНИЙ, КОТОРЫЕ СМОГУТ</vt:lpstr>
      <vt:lpstr>РАСПРОСТРАНЕНИЕ СООБЩЕНИЙ</vt:lpstr>
      <vt:lpstr>Контрольный лист</vt:lpstr>
      <vt:lpstr>В следующей презентации будут рассмотрены типы доказательств, которые могут быть использованы, в зависимости от вашей ситуаци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4D PowerPoint Template</dc:title>
  <dc:creator>R4D17</dc:creator>
  <cp:lastModifiedBy>Candice Hwang</cp:lastModifiedBy>
  <cp:revision>303</cp:revision>
  <cp:lastPrinted>2017-10-25T18:40:38Z</cp:lastPrinted>
  <dcterms:created xsi:type="dcterms:W3CDTF">2013-09-25T20:04:22Z</dcterms:created>
  <dcterms:modified xsi:type="dcterms:W3CDTF">2017-12-14T17:4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D1DF2435BB006A4EB48DC2F170205CA1</vt:lpwstr>
  </property>
  <property fmtid="{D5CDD505-2E9C-101B-9397-08002B2CF9AE}" pid="3" name="OW-Topics">
    <vt:lpwstr>8;#Communications|d8600aaf-13ee-4a11-996f-f272b3ac4916</vt:lpwstr>
  </property>
</Properties>
</file>